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4" r:id="rId4"/>
    <p:sldMasterId id="2147483858" r:id="rId5"/>
  </p:sldMasterIdLst>
  <p:notesMasterIdLst>
    <p:notesMasterId r:id="rId22"/>
  </p:notesMasterIdLst>
  <p:handoutMasterIdLst>
    <p:handoutMasterId r:id="rId23"/>
  </p:handoutMasterIdLst>
  <p:sldIdLst>
    <p:sldId id="256" r:id="rId6"/>
    <p:sldId id="2140755212" r:id="rId7"/>
    <p:sldId id="257" r:id="rId8"/>
    <p:sldId id="259" r:id="rId9"/>
    <p:sldId id="260" r:id="rId10"/>
    <p:sldId id="261" r:id="rId11"/>
    <p:sldId id="262" r:id="rId12"/>
    <p:sldId id="270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140755196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4D3F53E-A2CD-B56B-7BF9-528CD262C2DE}" name="Mike Etzinger" initials="ME" userId="S::metzinger@rldatix.com::6cb436f8-4777-4dfd-afea-b50822b27c10" providerId="AD"/>
  <p188:author id="{C6A7BC67-D14A-CD13-35B4-19A549903576}" name="Amy Lee" initials="AL" userId="S::alee@rldatix.com::b0f4bf05-16b1-4e3a-90ac-e011ad7077d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4E9C"/>
    <a:srgbClr val="349D91"/>
    <a:srgbClr val="F4511E"/>
    <a:srgbClr val="FDFDFD"/>
    <a:srgbClr val="2DF2F1"/>
    <a:srgbClr val="706F6F"/>
    <a:srgbClr val="1B3970"/>
    <a:srgbClr val="C2388B"/>
    <a:srgbClr val="EFEEEE"/>
    <a:srgbClr val="D74B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20" y="102"/>
      </p:cViewPr>
      <p:guideLst>
        <p:guide orient="horz" pos="709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dy Weeks" userId="e855e899-0b52-42d7-8840-f744058e6fdd" providerId="ADAL" clId="{E52CBADD-5715-42C2-BBC8-E81E651A2889}"/>
    <pc:docChg chg="delSld delMainMaster">
      <pc:chgData name="Judy Weeks" userId="e855e899-0b52-42d7-8840-f744058e6fdd" providerId="ADAL" clId="{E52CBADD-5715-42C2-BBC8-E81E651A2889}" dt="2022-09-22T16:24:24.078" v="0" actId="2696"/>
      <pc:docMkLst>
        <pc:docMk/>
      </pc:docMkLst>
      <pc:sldChg chg="del">
        <pc:chgData name="Judy Weeks" userId="e855e899-0b52-42d7-8840-f744058e6fdd" providerId="ADAL" clId="{E52CBADD-5715-42C2-BBC8-E81E651A2889}" dt="2022-09-22T16:24:24.078" v="0" actId="2696"/>
        <pc:sldMkLst>
          <pc:docMk/>
          <pc:sldMk cId="145919762" sldId="2140755233"/>
        </pc:sldMkLst>
      </pc:sldChg>
      <pc:sldMasterChg chg="del delSldLayout">
        <pc:chgData name="Judy Weeks" userId="e855e899-0b52-42d7-8840-f744058e6fdd" providerId="ADAL" clId="{E52CBADD-5715-42C2-BBC8-E81E651A2889}" dt="2022-09-22T16:24:24.078" v="0" actId="2696"/>
        <pc:sldMasterMkLst>
          <pc:docMk/>
          <pc:sldMasterMk cId="0" sldId="2147483648"/>
        </pc:sldMasterMkLst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938696684" sldId="2147483649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496760014" sldId="2147483650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813866112" sldId="2147483651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737347443" sldId="2147483652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925008788" sldId="2147483653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86649097" sldId="2147483654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202098391" sldId="2147483655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386686256" sldId="2147483656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665901526" sldId="2147483657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334565613" sldId="2147483658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69522863" sldId="2147483659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514844531" sldId="2147483660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188626069" sldId="2147483661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4103710004" sldId="2147483662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100534269" sldId="2147483663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42883910" sldId="2147483664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661188012" sldId="2147483665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124725935" sldId="2147483666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011944469" sldId="2147483667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537251436" sldId="2147483668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824515210" sldId="2147483669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645213210" sldId="2147483670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441760887" sldId="2147483671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951813662" sldId="2147483672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076168802" sldId="2147483673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735729469" sldId="2147483674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710124482" sldId="2147483675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186038108" sldId="2147483676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515083065" sldId="2147483677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431707729" sldId="2147483678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089542115" sldId="2147483679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059465760" sldId="2147483680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715669799" sldId="2147483681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340772339" sldId="2147483682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749944548" sldId="2147483683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917571213" sldId="2147483684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408851850" sldId="2147483685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336635871" sldId="2147483686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4255491572" sldId="2147483687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18628083" sldId="2147483688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893644425" sldId="2147483689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639827077" sldId="2147483690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138055837" sldId="2147483691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206002892" sldId="2147483692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193374843" sldId="2147483693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077674247" sldId="2147483694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494217657" sldId="2147483695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79178174" sldId="2147483696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020793163" sldId="2147483697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703396654" sldId="2147483698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495735104" sldId="2147483699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249213986" sldId="2147483700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978773787" sldId="2147483701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456160916" sldId="2147483702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314424919" sldId="2147483703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34526408" sldId="2147483704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129444087" sldId="2147483705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38268941" sldId="2147483706"/>
          </pc:sldLayoutMkLst>
        </pc:sldLayoutChg>
        <pc:sldLayoutChg chg="del">
          <pc:chgData name="Judy Weeks" userId="e855e899-0b52-42d7-8840-f744058e6fdd" providerId="ADAL" clId="{E52CBADD-5715-42C2-BBC8-E81E651A2889}" dt="2022-09-22T16:24:24.078" v="0" actId="2696"/>
          <pc:sldLayoutMkLst>
            <pc:docMk/>
            <pc:sldMasterMk cId="0" sldId="2147483648"/>
            <pc:sldLayoutMk cId="2892216095" sldId="214748370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09-48FD-BDC3-4ADAD64D04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09-48FD-BDC3-4ADAD64D04A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09-48FD-BDC3-4ADAD64D04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8606384"/>
        <c:axId val="568605992"/>
      </c:barChart>
      <c:catAx>
        <c:axId val="56860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8605992"/>
        <c:crosses val="autoZero"/>
        <c:auto val="1"/>
        <c:lblAlgn val="ctr"/>
        <c:lblOffset val="100"/>
        <c:noMultiLvlLbl val="0"/>
      </c:catAx>
      <c:valAx>
        <c:axId val="568605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8606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CB07717-7CB9-4662-A15F-23E784DAB3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AF833B-7CAE-46CE-85C5-6251F71EDF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AEA117-F42C-43A1-811A-2E89CC7F4268}" type="datetimeFigureOut">
              <a:rPr lang="en-GB" smtClean="0"/>
              <a:t>22/09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3C8292-338B-40F4-81D2-25C81C9F33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1BDFDE-AB19-44FD-A666-DEA35D9B9D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06AF4C-1680-4355-8C97-158271D525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35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B30FFC-B276-45E5-B2D5-96717044B4D8}" type="datetimeFigureOut">
              <a:rPr lang="en-GB" smtClean="0"/>
              <a:t>22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DAFE9-FC94-4153-9BBC-FC7039548C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1025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w approvals</a:t>
            </a:r>
          </a:p>
          <a:p>
            <a:r>
              <a:rPr lang="en-GB" dirty="0"/>
              <a:t>Show menu tabs</a:t>
            </a:r>
          </a:p>
          <a:p>
            <a:r>
              <a:rPr lang="en-GB" dirty="0"/>
              <a:t>Point</a:t>
            </a:r>
            <a:r>
              <a:rPr lang="en-GB" baseline="0" dirty="0"/>
              <a:t> out view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5AF6D-E037-493B-B223-DEFFA92B3798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352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5AF6D-E037-493B-B223-DEFFA92B3798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7148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o approvals as a separate</a:t>
            </a:r>
            <a:r>
              <a:rPr lang="en-GB" baseline="0" dirty="0"/>
              <a:t> ste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5AF6D-E037-493B-B223-DEFFA92B3798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565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o approvals as a separate</a:t>
            </a:r>
            <a:r>
              <a:rPr lang="en-GB" baseline="0" dirty="0"/>
              <a:t> ste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5AF6D-E037-493B-B223-DEFFA92B3798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565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5AF6D-E037-493B-B223-DEFFA92B3798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448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6" Type="http://schemas.openxmlformats.org/officeDocument/2006/relationships/image" Target="../media/image16.png"/><Relationship Id="rId5" Type="http://schemas.openxmlformats.org/officeDocument/2006/relationships/image" Target="../media/image33.png"/><Relationship Id="rId4" Type="http://schemas.openxmlformats.org/officeDocument/2006/relationships/image" Target="../media/image15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4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3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3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6" Type="http://schemas.openxmlformats.org/officeDocument/2006/relationships/image" Target="../media/image16.png"/><Relationship Id="rId5" Type="http://schemas.openxmlformats.org/officeDocument/2006/relationships/image" Target="../media/image38.png"/><Relationship Id="rId4" Type="http://schemas.openxmlformats.org/officeDocument/2006/relationships/image" Target="../media/image34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5" Type="http://schemas.openxmlformats.org/officeDocument/2006/relationships/image" Target="../media/image39.png"/><Relationship Id="rId4" Type="http://schemas.openxmlformats.org/officeDocument/2006/relationships/image" Target="../media/image15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15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5" Type="http://schemas.openxmlformats.org/officeDocument/2006/relationships/image" Target="../media/image40.png"/><Relationship Id="rId4" Type="http://schemas.openxmlformats.org/officeDocument/2006/relationships/image" Target="../media/image1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6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6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6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1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2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3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5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5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5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32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7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3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35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3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Relationship Id="rId6" Type="http://schemas.openxmlformats.org/officeDocument/2006/relationships/image" Target="../media/image16.png"/><Relationship Id="rId5" Type="http://schemas.openxmlformats.org/officeDocument/2006/relationships/image" Target="../media/image32.png"/><Relationship Id="rId4" Type="http://schemas.openxmlformats.org/officeDocument/2006/relationships/image" Target="../media/image1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6" Type="http://schemas.openxmlformats.org/officeDocument/2006/relationships/image" Target="../media/image16.png"/><Relationship Id="rId5" Type="http://schemas.openxmlformats.org/officeDocument/2006/relationships/image" Target="../media/image37.png"/><Relationship Id="rId4" Type="http://schemas.openxmlformats.org/officeDocument/2006/relationships/image" Target="../media/image15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Relationship Id="rId6" Type="http://schemas.openxmlformats.org/officeDocument/2006/relationships/image" Target="../media/image16.png"/><Relationship Id="rId5" Type="http://schemas.openxmlformats.org/officeDocument/2006/relationships/image" Target="../media/image32.png"/><Relationship Id="rId4" Type="http://schemas.openxmlformats.org/officeDocument/2006/relationships/image" Target="../media/image1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Relationship Id="rId6" Type="http://schemas.openxmlformats.org/officeDocument/2006/relationships/image" Target="../media/image16.png"/><Relationship Id="rId5" Type="http://schemas.openxmlformats.org/officeDocument/2006/relationships/image" Target="../media/image37.png"/><Relationship Id="rId4" Type="http://schemas.openxmlformats.org/officeDocument/2006/relationships/image" Target="../media/image15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3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0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6.xml"/><Relationship Id="rId6" Type="http://schemas.openxmlformats.org/officeDocument/2006/relationships/image" Target="../media/image16.png"/><Relationship Id="rId5" Type="http://schemas.openxmlformats.org/officeDocument/2006/relationships/image" Target="../media/image38.png"/><Relationship Id="rId4" Type="http://schemas.openxmlformats.org/officeDocument/2006/relationships/image" Target="../media/image41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2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9.xml"/><Relationship Id="rId6" Type="http://schemas.openxmlformats.org/officeDocument/2006/relationships/image" Target="../media/image16.png"/><Relationship Id="rId5" Type="http://schemas.openxmlformats.org/officeDocument/2006/relationships/image" Target="../media/image32.png"/><Relationship Id="rId4" Type="http://schemas.openxmlformats.org/officeDocument/2006/relationships/image" Target="../media/image15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0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1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2.xml"/><Relationship Id="rId5" Type="http://schemas.openxmlformats.org/officeDocument/2006/relationships/image" Target="../media/image39.png"/><Relationship Id="rId4" Type="http://schemas.openxmlformats.org/officeDocument/2006/relationships/image" Target="../media/image15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3.xml"/><Relationship Id="rId4" Type="http://schemas.openxmlformats.org/officeDocument/2006/relationships/image" Target="../media/image1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1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8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6.xml"/><Relationship Id="rId5" Type="http://schemas.openxmlformats.org/officeDocument/2006/relationships/image" Target="../media/image16.png"/><Relationship Id="rId4" Type="http://schemas.openxmlformats.org/officeDocument/2006/relationships/image" Target="../media/image18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7.xml"/><Relationship Id="rId5" Type="http://schemas.openxmlformats.org/officeDocument/2006/relationships/image" Target="../media/image16.png"/><Relationship Id="rId4" Type="http://schemas.openxmlformats.org/officeDocument/2006/relationships/image" Target="../media/image18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8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8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2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1.xml"/><Relationship Id="rId5" Type="http://schemas.openxmlformats.org/officeDocument/2006/relationships/image" Target="../media/image16.png"/><Relationship Id="rId4" Type="http://schemas.openxmlformats.org/officeDocument/2006/relationships/image" Target="../media/image18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2.xml"/><Relationship Id="rId5" Type="http://schemas.openxmlformats.org/officeDocument/2006/relationships/image" Target="../media/image16.png"/><Relationship Id="rId4" Type="http://schemas.openxmlformats.org/officeDocument/2006/relationships/image" Target="../media/image18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3.xml"/><Relationship Id="rId5" Type="http://schemas.openxmlformats.org/officeDocument/2006/relationships/image" Target="../media/image31.png"/><Relationship Id="rId4" Type="http://schemas.openxmlformats.org/officeDocument/2006/relationships/image" Target="../media/image18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4.xml"/><Relationship Id="rId6" Type="http://schemas.openxmlformats.org/officeDocument/2006/relationships/image" Target="../media/image16.png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19.png"/><Relationship Id="rId4" Type="http://schemas.openxmlformats.org/officeDocument/2006/relationships/image" Target="../media/image1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0.png"/><Relationship Id="rId4" Type="http://schemas.openxmlformats.org/officeDocument/2006/relationships/image" Target="../media/image15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1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.xml"/><Relationship Id="rId7" Type="http://schemas.openxmlformats.org/officeDocument/2006/relationships/image" Target="../media/image22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3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25.svg"/><Relationship Id="rId11" Type="http://schemas.openxmlformats.org/officeDocument/2006/relationships/image" Target="../media/image16.png"/><Relationship Id="rId5" Type="http://schemas.openxmlformats.org/officeDocument/2006/relationships/image" Target="../media/image24.png"/><Relationship Id="rId10" Type="http://schemas.openxmlformats.org/officeDocument/2006/relationships/image" Target="../media/image29.svg"/><Relationship Id="rId4" Type="http://schemas.openxmlformats.org/officeDocument/2006/relationships/image" Target="../media/image15.emf"/><Relationship Id="rId9" Type="http://schemas.openxmlformats.org/officeDocument/2006/relationships/image" Target="../media/image28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5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5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5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5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5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6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1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5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Icon&#10;&#10;Description automatically generated">
            <a:extLst>
              <a:ext uri="{FF2B5EF4-FFF2-40B4-BE49-F238E27FC236}">
                <a16:creationId xmlns:a16="http://schemas.microsoft.com/office/drawing/2014/main" id="{3F5F1D3D-5277-AB32-2481-26A6001CBE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681DB49-BE94-4B73-85A5-5FB46D362C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6700" y="1325245"/>
            <a:ext cx="5145114" cy="2204339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7AF7545-6082-4C5D-A076-37CF4023A0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6700" y="4779390"/>
            <a:ext cx="4123944" cy="152714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r>
              <a:rPr lang="en-US"/>
              <a:t>Date</a:t>
            </a:r>
            <a:endParaRPr lang="en-GB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6F853DA1-EDA3-4AD7-A495-A1EB109D7E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4BAD481-9382-4B44-8764-C03C1870B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D619232-4879-4EF7-A48A-DE96EB707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2519" y="6322455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B8D7EC-2D85-F340-83EC-75532B4E55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16700" y="393592"/>
            <a:ext cx="1903167" cy="41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71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F8505-178C-4E3C-9C67-1A516F50A0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18160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0EFB3E-0FC1-4215-A3D2-E8296734F4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58543" y="1187003"/>
            <a:ext cx="518160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28F42C4-DB20-FC83-084C-360DC445DFE7}"/>
              </a:ext>
            </a:extLst>
          </p:cNvPr>
          <p:cNvCxnSpPr>
            <a:cxnSpLocks/>
          </p:cNvCxnSpPr>
          <p:nvPr userDrawn="1"/>
        </p:nvCxnSpPr>
        <p:spPr>
          <a:xfrm>
            <a:off x="185202" y="894607"/>
            <a:ext cx="1157659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B92FF1CB-69C4-0478-7138-239BB4F765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C15ED34F-B85A-5005-46EA-B0CE3A523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C14A66B8-10B7-CD88-1516-C585DC028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F1B70036-979D-16DB-C46B-4F5E31FD0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202" y="100022"/>
            <a:ext cx="10854597" cy="592629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37" name="Picture 8">
            <a:extLst>
              <a:ext uri="{FF2B5EF4-FFF2-40B4-BE49-F238E27FC236}">
                <a16:creationId xmlns:a16="http://schemas.microsoft.com/office/drawing/2014/main" id="{44066470-F401-15C3-BC14-F016B25072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DD6D9FC-2C9E-CDB2-2B3D-C507723FD4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8451" y="100026"/>
            <a:ext cx="593345" cy="59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26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5" name="Date Placeholder 56">
            <a:extLst>
              <a:ext uri="{FF2B5EF4-FFF2-40B4-BE49-F238E27FC236}">
                <a16:creationId xmlns:a16="http://schemas.microsoft.com/office/drawing/2014/main" id="{96D778CB-B7F0-4CBA-A873-E9121711017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ABF919C-E5D7-435F-8C39-D0915F8257BD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E189E313-7325-4546-838B-A64DFFD288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6FFFC49-DE6E-4E72-9A32-86A2C8666E88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F27D746-BC5A-44DD-AB0B-DB06DF2DB2EA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147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1729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Date Placeholder 56">
            <a:extLst>
              <a:ext uri="{FF2B5EF4-FFF2-40B4-BE49-F238E27FC236}">
                <a16:creationId xmlns:a16="http://schemas.microsoft.com/office/drawing/2014/main" id="{49EA943D-200C-4286-A2C0-4B7733E8167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8B1F261-5592-493C-934B-968DB64A5C3E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72A4E20-16E2-4E59-8874-0DD45E3C6E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F82EBD4-C39B-4671-A6AA-69F09960C08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88288A8-7CF5-41F0-A5DB-764E2A5EF021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23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71846"/>
            <a:ext cx="2478639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DE82094-A2D7-4C26-9FD5-FD5D72C86A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58595B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1557F2-E498-4149-B2B3-029EB5454B05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3E2526D-5B3F-439A-A95E-367B5230E2A2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C8D2B5B-7C31-4B42-A68F-ECDE46DDFB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646E297-FABF-4F2B-BD4B-50D65A01DC7B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548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71846"/>
            <a:ext cx="2478639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3" name="Date Placeholder 56">
            <a:extLst>
              <a:ext uri="{FF2B5EF4-FFF2-40B4-BE49-F238E27FC236}">
                <a16:creationId xmlns:a16="http://schemas.microsoft.com/office/drawing/2014/main" id="{4BB78898-2EAA-4B3F-841C-5AA836EEC5C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104E753-4306-48D1-9258-96DEB3E153C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2DD6FAA-97B9-4A57-96AF-15386B501B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B2B7454-D38C-4A2A-8904-F11716AD356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EC13CA9-C984-4DFE-ADEF-698E5DD564BF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614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B167A398-6C63-422C-9C2C-08F7648071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58595B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7C77AB7-85FA-4235-BC83-44755B9D2CDB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371C0C5-4E83-40F3-A022-F802558E015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77E5F9A-B8B1-4ADD-B130-AD8C77D789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AB60AA5-34B3-4F53-A31C-33E090D28B83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9027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Date Placeholder 56">
            <a:extLst>
              <a:ext uri="{FF2B5EF4-FFF2-40B4-BE49-F238E27FC236}">
                <a16:creationId xmlns:a16="http://schemas.microsoft.com/office/drawing/2014/main" id="{F7B219C8-309E-45AD-99C5-D14E2A73849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5498C70-C839-43AB-B336-7F66C364CC82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C56CBB1-F9AB-4E5B-8C41-BE6C5A099B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3DFF473-D9D7-4981-A2B6-5064234E211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8371784A-F8D8-49D7-8496-7EAE54E0C35C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747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D78D908F-A4F0-4DC5-B547-8793DD3E9D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58595B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C3436DE-6DAB-4EBF-B713-7DB6CC4A8F23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91AB8A-1DAC-4132-8B0D-AE00F6CFF3DD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04CEDF6-6A5F-4BDE-B885-525B052096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57C3AA1-DF18-4755-BFBE-18526E526D15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5659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Date Placeholder 56">
            <a:extLst>
              <a:ext uri="{FF2B5EF4-FFF2-40B4-BE49-F238E27FC236}">
                <a16:creationId xmlns:a16="http://schemas.microsoft.com/office/drawing/2014/main" id="{57504D66-ED00-436D-81F6-9B7D87BB2F0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EDB6A74-EF2F-4ABD-B78D-7420CD438454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DB81999-D235-41C7-820D-EB09D7AC76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50640A0-778C-40CF-BA50-7CBA85DD3587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B7764E6-24AD-488A-9DFC-8822ABA39099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263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456100"/>
            <a:ext cx="62568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0F30DAF-1A68-4F0F-9694-9E7C0240E5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58595B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F72DB7-3633-4148-ABF1-B1EB88DBA6A4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4BC5F7-A0C6-4F93-8276-D64645A43A1A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FB91FE18-4B3F-435F-8242-B1D4D52707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752C881-B392-4D84-86FB-3180B3A1E327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9D14D24-DE17-4C38-A644-2E0C3E099B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1" y="1295402"/>
            <a:ext cx="6256800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3569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456100"/>
            <a:ext cx="62568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Date Placeholder 56">
            <a:extLst>
              <a:ext uri="{FF2B5EF4-FFF2-40B4-BE49-F238E27FC236}">
                <a16:creationId xmlns:a16="http://schemas.microsoft.com/office/drawing/2014/main" id="{5B47BF4E-B6F8-4756-BD05-68DAEE6D13D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F08EE09-5FBE-4E50-B500-79B53B676FB0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3E2984C-FDA9-4548-B6C2-FBE5B44215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40329AD-7F40-4ECD-BA43-7DFA127A4A05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175E87C-0E43-4B2A-8FD2-5FC47B4E9487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F227347-8A0B-41C5-BD0D-DA3A0EC6F3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1" y="1295402"/>
            <a:ext cx="6256800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775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8A61A10-7F0D-79B1-4C95-812ECD0BA086}"/>
              </a:ext>
            </a:extLst>
          </p:cNvPr>
          <p:cNvCxnSpPr>
            <a:cxnSpLocks/>
          </p:cNvCxnSpPr>
          <p:nvPr userDrawn="1"/>
        </p:nvCxnSpPr>
        <p:spPr>
          <a:xfrm>
            <a:off x="185202" y="894607"/>
            <a:ext cx="1157659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08797353-EF45-4BE1-59E9-9E2F392017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2DB03B14-E2AB-4740-164A-879D46331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6266352-5B5E-9844-B5EB-25F4B9809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B7C3D1F5-340E-E28D-4C01-16810CCD8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202" y="100022"/>
            <a:ext cx="10854597" cy="592629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8" name="Picture 8">
            <a:extLst>
              <a:ext uri="{FF2B5EF4-FFF2-40B4-BE49-F238E27FC236}">
                <a16:creationId xmlns:a16="http://schemas.microsoft.com/office/drawing/2014/main" id="{80C905C2-7072-9176-F945-08A77BA48D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FFBEB54-C9A3-9679-F80B-DE18BD94C2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8451" y="100026"/>
            <a:ext cx="593345" cy="59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756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0B9485C-0634-487A-A719-4F8A967E4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118A35-1176-4CAE-A403-8DF15565249F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98A3A50-7ADD-4167-9699-B815F4FFF49A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1C1D4EE-30A3-4D29-8963-54947543ED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A19E4D9-D9BA-4029-84BC-354146D08E3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220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Date Placeholder 56">
            <a:extLst>
              <a:ext uri="{FF2B5EF4-FFF2-40B4-BE49-F238E27FC236}">
                <a16:creationId xmlns:a16="http://schemas.microsoft.com/office/drawing/2014/main" id="{3E9499FA-463F-41DD-B20C-201E67E9861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7D8D84-9D24-4B97-A568-91410D3F9230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DB44101-1BE1-416D-8D9E-102A29BFD1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2FC2EAA-8D5B-4429-BE15-799F0B7E34E2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326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CD35E5F-6EDF-46A1-A8B7-B4D745121C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8F6939-931A-4309-83F4-ECF48FC723DC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2162F33-8DCF-4CBE-AF92-6AAA9259534D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F340534-F4A6-4089-8A4E-2CE02E3170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E41B143-4B5A-4D51-ABA8-2C9EA6F4608F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5165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EC6731"/>
          </a:solidFill>
          <a:ln w="9525" cap="rnd" cmpd="sng" algn="ctr">
            <a:solidFill>
              <a:srgbClr val="EC673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50800"/>
            <a:ext cx="10934700" cy="584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49F486A-A898-4459-9189-B5535A9858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63D8D0-69B3-4DA8-961C-2E342D594195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A996720-54D8-43BC-A268-9D5528EF29D7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6862FD4-FEBC-4006-B045-EF185C46A4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88A194F-6D19-4E0C-8FE7-D2EC8B6202ED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3877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70D46A4A-8731-4CE9-A7E9-40B27B8B27F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D72CAA5-3C90-4098-8C0F-F6F5F87574C3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395566C-67EF-42D2-9344-C52E8ED598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53B8FC4-DBD3-4969-AF7C-37A1C750FE8D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6034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8CD32CB6-F2AD-4412-86E7-4DB1DE1D84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7C11E3-A29B-4A66-82E6-3D657C478C90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36179FA-3ABC-4609-BFB7-EFDBDE31854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215B245-8631-4C65-9777-59A702C474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6C8E860-47AC-4736-BD31-213E1E4BF2DC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562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EC2704F3-8B60-40B7-B469-D9277F77A31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83E0770-DF40-4B74-B424-654A5C4CAFD1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D72D447-8DF5-4F59-B343-E49DDE87CB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81713E2-6FF6-48CE-BD73-AF19F12FF8FE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8771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9"/>
            <a:ext cx="2631307" cy="12192000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0AF2FB-741B-E24F-BF86-CD2C277C83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2096" y="2885196"/>
            <a:ext cx="5847811" cy="1087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023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804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8383281" y="3049272"/>
            <a:ext cx="2021707" cy="5595741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0AF2FB-741B-E24F-BF86-CD2C277C83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8905" y="6130094"/>
            <a:ext cx="2478297" cy="44850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5333" y="3429002"/>
            <a:ext cx="9889067" cy="797687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800" b="0" i="1" cap="none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85333" y="1559897"/>
            <a:ext cx="9889067" cy="1259505"/>
          </a:xfrm>
          <a:noFill/>
        </p:spPr>
        <p:txBody>
          <a:bodyPr lIns="91440" tIns="45720" rIns="91440" bIns="45720" anchor="b" anchorCtr="0">
            <a:normAutofit/>
          </a:bodyPr>
          <a:lstStyle>
            <a:lvl1pPr algn="l">
              <a:spcBef>
                <a:spcPts val="0"/>
              </a:spcBef>
              <a:buNone/>
              <a:defRPr sz="5067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0D346F-B2B1-844F-B6A6-9F724B807EFD}"/>
              </a:ext>
            </a:extLst>
          </p:cNvPr>
          <p:cNvCxnSpPr>
            <a:cxnSpLocks/>
          </p:cNvCxnSpPr>
          <p:nvPr userDrawn="1"/>
        </p:nvCxnSpPr>
        <p:spPr>
          <a:xfrm>
            <a:off x="1320800" y="3124200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575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Watermark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373501EB-1ACD-6FDB-7582-C17B8EAFD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564D0B7-9E80-4845-8452-C6FE7898B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429" y="160167"/>
            <a:ext cx="10918371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87C8950-DE7F-4190-9035-F7347EB491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429" y="1183072"/>
            <a:ext cx="10918371" cy="4806800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23766FF-678B-459D-8B11-BD6A5B697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2ACA179E-BD4D-A463-FEDF-58F5841848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013E44C-7E1B-95EB-86DB-E8879CC031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A44D30-1EBD-FEEC-AFCE-401986017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927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9AADF69-FB18-4F31-AB52-9586EBEF6FB0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7C8A4E31-8B70-4929-8D91-F627150314D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Title 13">
            <a:extLst>
              <a:ext uri="{FF2B5EF4-FFF2-40B4-BE49-F238E27FC236}">
                <a16:creationId xmlns:a16="http://schemas.microsoft.com/office/drawing/2014/main" id="{57D4DD07-74F3-41B8-AD0F-231559BC3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4068DAC-8F8F-45E9-81AC-6FE6DCA7EA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CB1C74-C25B-49AB-87D8-1EDB3C1D2BA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521522C-2AB2-402E-A145-843D06EAF0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B3BCA25-2718-4A7F-858E-3DE79F2B418F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8480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07C0E493-E100-483E-8BB5-FB9A6BDE371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D8951B0-096C-4A2D-B45B-5D3E85149AE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D2A3E37-F2BE-43D5-90C2-6530782EA3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92F9CB8-1D04-431E-AB0F-E0A91988AAB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3">
            <a:extLst>
              <a:ext uri="{FF2B5EF4-FFF2-40B4-BE49-F238E27FC236}">
                <a16:creationId xmlns:a16="http://schemas.microsoft.com/office/drawing/2014/main" id="{CF9851C2-C6AC-41B2-981F-F5C2152E5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58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45CA8A-A2EA-4D7D-88D6-679609C42C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Sub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240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07C0E493-E100-483E-8BB5-FB9A6BDE371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D8951B0-096C-4A2D-B45B-5D3E85149AE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D2A3E37-F2BE-43D5-90C2-6530782EA3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92F9CB8-1D04-431E-AB0F-E0A91988AAB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3">
            <a:extLst>
              <a:ext uri="{FF2B5EF4-FFF2-40B4-BE49-F238E27FC236}">
                <a16:creationId xmlns:a16="http://schemas.microsoft.com/office/drawing/2014/main" id="{CF9851C2-C6AC-41B2-981F-F5C2152E5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1" y="456101"/>
            <a:ext cx="10934688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45CA8A-A2EA-4D7D-88D6-679609C42C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8636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Sub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94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1" name="Title 13">
            <a:extLst>
              <a:ext uri="{FF2B5EF4-FFF2-40B4-BE49-F238E27FC236}">
                <a16:creationId xmlns:a16="http://schemas.microsoft.com/office/drawing/2014/main" id="{98DD8215-1868-46D9-B037-E64FE2096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2568038-207F-4D9A-975C-34B2D8EB7A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fr-FR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F0D53E0-A0E3-4FD8-9A9F-556BB0C5CBC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B34BA54-C49F-48AB-8C23-002F676E43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3A77E2D-79FF-4FFB-8BEC-97289FDFF31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87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3AC48498-7151-4868-A89E-CA0501211B0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2" y="-1309"/>
            <a:ext cx="490219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42548"/>
            <a:ext cx="3744000" cy="775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F82B3A0-AA9D-44A2-B99A-28CA879D352A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DD10A72-A4C0-40A9-B303-BEE527B493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176D0D9-B657-4B0E-91A7-419767A1A3EE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947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30317D1-E164-4BFB-8772-E7CA45F50C0E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323EC02-B05A-4175-8CDF-7DF4D34C1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06E57A3-184C-4D53-A4CA-E48283134AD5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6099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DAFBA6E-2E19-48E7-8F27-028107CCA9B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E5B406E-9AC2-4CEB-A4B8-CF21CC63FB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B7A5D1A-2902-40A4-878D-C2CEBDF3581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6862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91AC751-C482-4287-BA50-3175AA7C1B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22F8FB-1135-4248-A172-DE0B3D7EC731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B20A77A-8017-469E-9E4C-DC94A40E5617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28E9791-2E2D-4133-BFF3-126ABCB243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42149A2-486E-4C9E-811E-667344D511FF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1275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456099"/>
            <a:ext cx="61200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81E5463-F32B-4904-9AE9-DE677ABE61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40D74B-BB63-4D45-A7B2-809BF7AE5154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CD8EE61-BEDE-4698-8E29-DE75C4913932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BB0D6AE-0DD2-4B9F-B325-AE9975AE4F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D5B1BC8-12C0-4F63-A73A-2875E273D3C3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7C295BD3-698C-4650-867A-3C7A34985A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49" y="1295402"/>
            <a:ext cx="6120000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223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751BA009-EFDA-4C6D-9422-C9166B20FF6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456099"/>
            <a:ext cx="72000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FB91621-F400-450C-84BE-6F9FFA8054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04A434-0715-4D7C-93A8-208927FED679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BB30CD3-57D5-48EC-AD32-E722D2BC89B1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83D8164-A457-4921-94FE-02A4927F95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309F61D-D5D0-4AC0-9854-05282E02BC2D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9FC9BA2-70F9-4AFC-9AA3-8BFC9D2C8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49" y="1295402"/>
            <a:ext cx="7200000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35313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 with Watermark">
    <p:bg>
      <p:bgPr>
        <a:solidFill>
          <a:srgbClr val="FDFDFD">
            <a:alpha val="2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DAE7FD63-C734-6492-112E-9EC5B1E178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F8505-178C-4E3C-9C67-1A516F50A0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18160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0EFB3E-0FC1-4215-A3D2-E8296734F4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58543" y="1187003"/>
            <a:ext cx="518160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967506E-F7DF-4F9A-B144-4A7DB19D0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0515600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17B429D-6C4D-401E-8449-3763CF109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0F069B5F-4F54-2094-4B39-779038797C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BB4CEF9-8BDC-B499-8C0F-94CDBC9143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1BCF07F-380E-4F25-5D11-C8C717977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0161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D2AD833C-C69C-4744-97D4-D2498AF2781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1D64A0-F981-4F43-B002-EB792B531E30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AD7D5C-8BE5-4D8E-914C-16655C546A5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EB4CF08-43B4-4642-BF13-3FE9AC4905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FC9852B-AE46-4581-91D8-D9F3FEF20DBB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6080FCC-8453-4F2F-AAD0-E92ABF6E39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0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04275D-91DA-4AE7-B407-35078E570143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5110202-DA84-4F67-80F2-F167FB80A5D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E5EB2F0D-E6DF-4CE2-9B66-0E30119F29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4BA6854-EEC0-4424-9CD6-BCD10825E37E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2C50B431-7338-4F19-AE8F-B1107E5459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38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C77498E-4A2A-4A96-819E-7C994D619EB9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B3BF204-48A5-4E67-AB1D-D04B0DC9A76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7727013-185A-4C71-AE95-24C727BEFE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6E46AD7-F22A-47EA-9F95-EA7E50E39BCE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55297CDA-2DC7-4BA1-B1A5-4446FAD5CD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31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9ED57EE5-5462-4675-9832-7CB52F082F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32579A9-7754-45DD-8C86-7E9560D7248A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8CB9570-5E9C-44B3-9A6F-990B9F20485D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E040E47-AE85-42AC-8222-F5AAFD9560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A6B01C9-75B5-41A2-AD22-988D50FB5FC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510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9A1259EC-0E2D-49A2-AB9D-6FF5145DEAF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BCF022-1874-44A8-8D5A-6E71C5A7C1CC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18C1E37-437C-40AD-86CA-09E43D937FF1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B73BD36-B2BB-41F1-8196-EB09879B92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D79A154-51DA-401A-BADA-B79DD47AA2B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36641623-D1C2-4974-831D-09F65191A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66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4C7FC75-07A0-4EF0-86F0-6BC8D4B97B2C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6AD46B1-C356-4B0D-8849-2B1BF1F6B593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102D045-E406-4BAF-A917-3EB6C990BC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D999C7E-0D7B-4135-91CC-A3DD83D0A7F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089CF238-111A-495D-BD54-83434BBD97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03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A53EBD2-B42E-4C68-AB68-273B0D9A646C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4EC33B7-C7F7-444C-BD1B-06A0E7248353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0167678-59D4-4F40-ACE8-08941A2E03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200129B-AF9C-4030-B8EE-718FA022405A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8837E1FF-2987-4D40-B020-75BA14793D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18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120F5A0-E337-40A8-90D9-A374723561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64B2B2-9366-4996-B739-53949930F80F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67D9E5-BD34-4D76-AF2E-01C6C058BBEE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4202430-7834-42A4-A4EA-5E2CA14522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696DBF4-1B3E-486B-9E2B-FB51D7559C2B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3">
            <a:extLst>
              <a:ext uri="{FF2B5EF4-FFF2-40B4-BE49-F238E27FC236}">
                <a16:creationId xmlns:a16="http://schemas.microsoft.com/office/drawing/2014/main" id="{C0725439-D02B-4886-BAA1-DF9896624B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49" y="456100"/>
            <a:ext cx="4641851" cy="7758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6341A8B-A480-4643-B5AE-924A93193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4641845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6537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10D15B9-8B2B-4930-B00F-814779A320AB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1FBE22C-8D42-4079-A9B1-B8D350E57C55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FA69EE8-99C0-42F7-84AF-6AE0D0A3C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5356D35-259E-4B2F-ADC1-5559D382EBAD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9E349D33-BB88-4553-9AC7-80B419C1F8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7AA04B7-EE6A-49BC-A04D-2115AADF3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456100"/>
            <a:ext cx="4629151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461C2AE-3182-4C9C-B23F-9B8B460AF8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4629145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0110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32FE2B-5297-4129-94FD-9DAF03527DD5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12C6D71-2A1C-40F8-8DA0-56B30ED3DD04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72AA35B-7D7C-4CAC-9FC9-24FEFA86D0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0638FD3-4B0E-431B-A864-3971FE4854A7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12933AE0-E5E4-43F7-B7AF-9378890F49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itle 13">
            <a:extLst>
              <a:ext uri="{FF2B5EF4-FFF2-40B4-BE49-F238E27FC236}">
                <a16:creationId xmlns:a16="http://schemas.microsoft.com/office/drawing/2014/main" id="{A281DAE7-D6AE-4482-BA8B-7DE3956E9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456100"/>
            <a:ext cx="6635751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3F2FCEC-2C30-480F-98B5-EFF3C0426D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6635743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286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Watermark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245C9FA-E5EB-080A-2F2A-4113D3834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5F99C07-2CB1-4254-BD93-EB8DF0409F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rgbClr val="FDFDFD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D0BA9DA-39AE-49AA-A805-262C7A849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A01FF68-89C8-CA45-8399-AC75AA8C9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0515600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30032D88-D5CA-E8BF-1DBB-10054E0F0E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0A0DCC04-8F17-2DF9-4C4D-01745C2F55F3}"/>
              </a:ext>
            </a:extLst>
          </p:cNvPr>
          <p:cNvSpPr txBox="1">
            <a:spLocks/>
          </p:cNvSpPr>
          <p:nvPr userDrawn="1"/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CA05ECE-3CBF-6FF5-2651-FE0BE11D1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7590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A799BB3-EB04-4985-BA43-2303653656F3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217813F-649B-4190-82A0-5943EA050835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CBE7AB2-B382-4CAE-9A53-1A287E4210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6AC38AD9-69F2-42F0-A43A-9B25B8432F0B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itle 13">
            <a:extLst>
              <a:ext uri="{FF2B5EF4-FFF2-40B4-BE49-F238E27FC236}">
                <a16:creationId xmlns:a16="http://schemas.microsoft.com/office/drawing/2014/main" id="{F2C16B78-6B10-4A8D-AFB4-A82555AA8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456100"/>
            <a:ext cx="6788151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3F8AA3D-F750-4001-B2FB-AE2700EDC2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6788143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5702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12C58F-4A67-4BAB-8A6E-F969FE1E4FA4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16B7922-3936-4275-BB0F-29AFEB26A72A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5468BCD-AA39-439E-846A-B9D6F1B094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2275D9B-92E0-4821-8A4D-DEACF1D42148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7BE4C20-5379-4EC8-948D-494490133B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22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70212685-9835-41FB-9970-C8DD8E9137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C68008-A81D-4517-8108-6517555C7F4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C7323D5-1E5C-4F78-8DC6-5EE07263E7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F9E4111-3B93-43EB-87A8-CD4168089816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465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247948-C620-4AA0-9DD7-023C80F3ECD9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5AA737F-8FB6-4BE1-8847-9B7FC19B356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0E0194A-7B3F-415B-B232-3711B3F17B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6D1DFE5-1874-4636-BFE0-C81270DCE41E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E3803B0-9D10-4546-A410-2EC0C0DDBE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26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EC6731"/>
          </a:solidFill>
          <a:ln w="9525" cap="rnd" cmpd="sng" algn="ctr">
            <a:solidFill>
              <a:srgbClr val="EC673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2E462D-CAA4-4CA6-8A50-5EAF1DFA9ECC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64C1711-C212-4BF4-8851-43A098093AD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9E1DF1D-00B7-4BB3-A213-52EDCE87F9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A57703F-494A-46A6-A987-0FCAFD38E0F7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9131F0A-1D1E-4A1A-B78D-C877E15A2B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Title 13">
            <a:extLst>
              <a:ext uri="{FF2B5EF4-FFF2-40B4-BE49-F238E27FC236}">
                <a16:creationId xmlns:a16="http://schemas.microsoft.com/office/drawing/2014/main" id="{B26F2046-D6E8-4F06-875F-275F94071F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0534005-A23A-4EAD-ACC0-44D165828F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12944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3825"/>
            <a:ext cx="3210480" cy="15103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40A8241-3EC1-4367-85E5-920A2E64ED6B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FA9B0C7-95CC-4B40-8AE7-8C8C953FEDE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7FC09EF-2C53-4B96-B801-43154E451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556D658-B3AB-4268-AD09-18C49390D2A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7EE45567-31B6-4D41-B4C1-3F35A98F83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1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C3A3DE-6FCD-427D-8C52-E9A7ADC15F71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39BC9A8-1C65-4541-AE9A-BA3BCED9AFCD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13E31D6-B582-4C47-B848-C477CD0F6B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D1AC166-43A4-41A6-9842-0C50ABF69CAF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918206D-500B-4815-BAC9-8816AB18C3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81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657D7FE-2794-4716-A5F5-D0B642DDAED7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1FAB72E-6F7A-4FAB-B858-BF5C230445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884A839-9908-4B27-91DB-9459DA1BF3A7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5618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9"/>
            <a:ext cx="2631307" cy="12192000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0AF2FB-741B-E24F-BF86-CD2C277C83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2096" y="2885196"/>
            <a:ext cx="5847811" cy="1087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622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9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6010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F8505-178C-4E3C-9C67-1A516F50A0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2244297"/>
            <a:ext cx="3688922" cy="347556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0C9496E9-6583-426A-AB47-DB95D04EA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17B429D-6C4D-401E-8449-3763CF109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59B70F3-5F74-4FFE-817D-DDCF27337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414494F-496F-0843-915D-895FD88F776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07211" y="2244297"/>
            <a:ext cx="3688922" cy="347556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8291224-58DC-9444-8CCF-4C467AFAF5B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39912" y="2244297"/>
            <a:ext cx="3688922" cy="347556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3BC0360-B994-3947-9FAC-BDBEA1ABE30E}"/>
              </a:ext>
            </a:extLst>
          </p:cNvPr>
          <p:cNvSpPr/>
          <p:nvPr userDrawn="1"/>
        </p:nvSpPr>
        <p:spPr>
          <a:xfrm>
            <a:off x="435600" y="5761032"/>
            <a:ext cx="3688922" cy="133930"/>
          </a:xfrm>
          <a:prstGeom prst="rect">
            <a:avLst/>
          </a:prstGeom>
          <a:gradFill flip="none" rotWithShape="1"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D40C07-754E-2C40-972E-E6D3A504391E}"/>
              </a:ext>
            </a:extLst>
          </p:cNvPr>
          <p:cNvSpPr/>
          <p:nvPr userDrawn="1"/>
        </p:nvSpPr>
        <p:spPr>
          <a:xfrm>
            <a:off x="4287753" y="5761032"/>
            <a:ext cx="3688922" cy="133930"/>
          </a:xfrm>
          <a:prstGeom prst="rect">
            <a:avLst/>
          </a:prstGeom>
          <a:gradFill flip="none" rotWithShape="1"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D72112-A1D4-FB44-A4F7-5EDF11F51931}"/>
              </a:ext>
            </a:extLst>
          </p:cNvPr>
          <p:cNvSpPr/>
          <p:nvPr userDrawn="1"/>
        </p:nvSpPr>
        <p:spPr>
          <a:xfrm>
            <a:off x="8139906" y="5761032"/>
            <a:ext cx="3688922" cy="133930"/>
          </a:xfrm>
          <a:prstGeom prst="rect">
            <a:avLst/>
          </a:prstGeom>
          <a:gradFill flip="none" rotWithShape="1"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87C4D0-132B-1C75-9752-F08D629F9F02}"/>
              </a:ext>
            </a:extLst>
          </p:cNvPr>
          <p:cNvSpPr/>
          <p:nvPr userDrawn="1"/>
        </p:nvSpPr>
        <p:spPr>
          <a:xfrm>
            <a:off x="447122" y="331869"/>
            <a:ext cx="3677400" cy="1891844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08F3F84-05EB-7817-751B-4E072B8D2022}"/>
              </a:ext>
            </a:extLst>
          </p:cNvPr>
          <p:cNvSpPr/>
          <p:nvPr userDrawn="1"/>
        </p:nvSpPr>
        <p:spPr>
          <a:xfrm>
            <a:off x="4312972" y="331869"/>
            <a:ext cx="3677400" cy="1891844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CE83FC1-2FB3-3464-7A30-BFADA4D98448}"/>
              </a:ext>
            </a:extLst>
          </p:cNvPr>
          <p:cNvSpPr/>
          <p:nvPr userDrawn="1"/>
        </p:nvSpPr>
        <p:spPr>
          <a:xfrm>
            <a:off x="8134150" y="331869"/>
            <a:ext cx="3688922" cy="1891844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8">
            <a:extLst>
              <a:ext uri="{FF2B5EF4-FFF2-40B4-BE49-F238E27FC236}">
                <a16:creationId xmlns:a16="http://schemas.microsoft.com/office/drawing/2014/main" id="{6AF838FB-3443-E095-7996-C4726F68EF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28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44BB62-C7F2-441E-9A07-6D043AAC0B69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CBFAC8C-AA5D-4247-89C6-CBEBD79916A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6CFEAE6-3354-4704-98E4-0103F2353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0FF93E0-8DE5-4A61-B65F-3CB2C5D6A6D4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080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4B94F44-4A2D-403D-925D-8AD74A867BE1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E899FCE-4933-4C54-9737-CA4210E8431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4BC548C-823C-4207-981D-278ADD7CA4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A60F767-83A9-4FD5-A115-6BE4E1E9E796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275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9296A37-2563-41A9-83AC-1988E7546195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7787B2C-8EA2-4806-9B0D-0F4D3264383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8A732E7-4716-4A7F-8015-C6A93CE0E0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88A8E2D-7DA2-4112-AA46-23C36987A2EE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5557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EC4007-5D9D-487E-A6CC-180BB1C12E22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338C70-4BB4-4173-8EFE-1CD5E12BE60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60B69AC-B33D-478A-832F-F27EB496E1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F4AD4A9-CC86-4F9A-93D2-508957F4BFCD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7479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>
              <a:ln>
                <a:noFill/>
              </a:ln>
              <a:solidFill>
                <a:srgbClr val="F4A4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F559C6-7857-406C-9089-F4F53F79A54E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7D8C2BF-EADF-41F7-92E0-95C2187578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605FC1B-6C83-4F4F-9FB6-8E6F6D54A190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156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5A6212B-AC1A-4CF5-BBD4-B1B9D76A2D84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56B01E9-3D06-4A4B-A751-A70E136E0F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DE0C1B6-245D-4014-B29C-0C937E5FB4E5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064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2C1AC506-381C-4FA2-9E02-F2D8328AB13E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CBD8445-049A-4E92-9E98-F3E971C072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D577AEF-CDF5-41C6-BD00-BB9C25E78986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8356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802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5350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3826"/>
            <a:ext cx="3027600" cy="15103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073AE11-A76D-4949-92E6-7C5B170E8EEE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D2A8A7-015C-4F9B-AF5E-5811C06E9E95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7FCC0D4-8E52-48FF-90EA-DD4B6ADB68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82D2D38-A42A-4E24-97C8-248343D9C952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211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F8505-178C-4E3C-9C67-1A516F50A0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986196"/>
            <a:ext cx="2702471" cy="4774836"/>
          </a:xfrm>
        </p:spPr>
        <p:txBody>
          <a:bodyPr wrap="none" rIns="90000">
            <a:norm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0C9496E9-6583-426A-AB47-DB95D04EA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17B429D-6C4D-401E-8449-3763CF109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59B70F3-5F74-4FFE-817D-DDCF27337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414494F-496F-0843-915D-895FD88F776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39398" y="986196"/>
            <a:ext cx="2702471" cy="4774836"/>
          </a:xfrm>
        </p:spPr>
        <p:txBody>
          <a:bodyPr wrap="none" rIns="90000">
            <a:norm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8291224-58DC-9444-8CCF-4C467AFAF5B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043196" y="986196"/>
            <a:ext cx="2702471" cy="4774836"/>
          </a:xfrm>
        </p:spPr>
        <p:txBody>
          <a:bodyPr wrap="none" rIns="90000">
            <a:norm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3ECE43-0661-AE45-B6DA-56677C4AFDC5}"/>
              </a:ext>
            </a:extLst>
          </p:cNvPr>
          <p:cNvSpPr/>
          <p:nvPr userDrawn="1"/>
        </p:nvSpPr>
        <p:spPr>
          <a:xfrm>
            <a:off x="435599" y="352454"/>
            <a:ext cx="2702471" cy="624998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EE8FB32-3CE3-CD47-93B0-99E2AFE33CB0}"/>
              </a:ext>
            </a:extLst>
          </p:cNvPr>
          <p:cNvSpPr/>
          <p:nvPr userDrawn="1"/>
        </p:nvSpPr>
        <p:spPr>
          <a:xfrm>
            <a:off x="3232509" y="352454"/>
            <a:ext cx="2702471" cy="624998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F2FBAC-DCCB-E64D-AAF5-E2B9B8480C45}"/>
              </a:ext>
            </a:extLst>
          </p:cNvPr>
          <p:cNvSpPr/>
          <p:nvPr userDrawn="1"/>
        </p:nvSpPr>
        <p:spPr>
          <a:xfrm>
            <a:off x="6043196" y="352454"/>
            <a:ext cx="2702471" cy="624998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3BC0360-B994-3947-9FAC-BDBEA1ABE30E}"/>
              </a:ext>
            </a:extLst>
          </p:cNvPr>
          <p:cNvSpPr/>
          <p:nvPr userDrawn="1"/>
        </p:nvSpPr>
        <p:spPr>
          <a:xfrm>
            <a:off x="435599" y="5761032"/>
            <a:ext cx="2702471" cy="13393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5194F13-2E4E-ADD0-6A16-3127369BA10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853883" y="988335"/>
            <a:ext cx="2702471" cy="4764129"/>
          </a:xfrm>
        </p:spPr>
        <p:txBody>
          <a:bodyPr wrap="none" rIns="90000">
            <a:norm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0C6C2AD-BCCA-82A0-85B3-DF4E321F8932}"/>
              </a:ext>
            </a:extLst>
          </p:cNvPr>
          <p:cNvSpPr/>
          <p:nvPr userDrawn="1"/>
        </p:nvSpPr>
        <p:spPr>
          <a:xfrm>
            <a:off x="8853883" y="352454"/>
            <a:ext cx="2702471" cy="624998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8BFA90F-DD17-D9D5-943F-C4928A5130D9}"/>
              </a:ext>
            </a:extLst>
          </p:cNvPr>
          <p:cNvSpPr/>
          <p:nvPr userDrawn="1"/>
        </p:nvSpPr>
        <p:spPr>
          <a:xfrm>
            <a:off x="3239398" y="5761032"/>
            <a:ext cx="2702471" cy="13393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F4DD358-C808-F613-67B8-8DD2E9E6F4BE}"/>
              </a:ext>
            </a:extLst>
          </p:cNvPr>
          <p:cNvSpPr/>
          <p:nvPr userDrawn="1"/>
        </p:nvSpPr>
        <p:spPr>
          <a:xfrm>
            <a:off x="6043196" y="5761032"/>
            <a:ext cx="2702471" cy="13393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1641A32-B0AB-974E-0515-E3CD2D789788}"/>
              </a:ext>
            </a:extLst>
          </p:cNvPr>
          <p:cNvSpPr/>
          <p:nvPr userDrawn="1"/>
        </p:nvSpPr>
        <p:spPr>
          <a:xfrm>
            <a:off x="8829179" y="5761032"/>
            <a:ext cx="2702471" cy="13393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pic>
        <p:nvPicPr>
          <p:cNvPr id="22" name="Picture 8">
            <a:extLst>
              <a:ext uri="{FF2B5EF4-FFF2-40B4-BE49-F238E27FC236}">
                <a16:creationId xmlns:a16="http://schemas.microsoft.com/office/drawing/2014/main" id="{8A0C2293-9A5B-7917-85E9-3C0984DA73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43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F8505-178C-4E3C-9C67-1A516F50A0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295987"/>
            <a:ext cx="3611364" cy="1842629"/>
          </a:xfrm>
        </p:spPr>
        <p:txBody>
          <a:bodyPr>
            <a:no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0C9496E9-6583-426A-AB47-DB95D04EA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17B429D-6C4D-401E-8449-3763CF109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59B70F3-5F74-4FFE-817D-DDCF27337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414494F-496F-0843-915D-895FD88F776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196000" y="1295987"/>
            <a:ext cx="3611364" cy="1842629"/>
          </a:xfrm>
        </p:spPr>
        <p:txBody>
          <a:bodyPr>
            <a:no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8291224-58DC-9444-8CCF-4C467AFAF5B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956406" y="1306871"/>
            <a:ext cx="3611364" cy="1842629"/>
          </a:xfrm>
        </p:spPr>
        <p:txBody>
          <a:bodyPr>
            <a:no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3ECE43-0661-AE45-B6DA-56677C4AFDC5}"/>
              </a:ext>
            </a:extLst>
          </p:cNvPr>
          <p:cNvSpPr/>
          <p:nvPr userDrawn="1"/>
        </p:nvSpPr>
        <p:spPr>
          <a:xfrm>
            <a:off x="435600" y="352453"/>
            <a:ext cx="3611364" cy="93265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EE8FB32-3CE3-CD47-93B0-99E2AFE33CB0}"/>
              </a:ext>
            </a:extLst>
          </p:cNvPr>
          <p:cNvSpPr/>
          <p:nvPr userDrawn="1"/>
        </p:nvSpPr>
        <p:spPr>
          <a:xfrm>
            <a:off x="4176542" y="352453"/>
            <a:ext cx="3611364" cy="93265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F2FBAC-DCCB-E64D-AAF5-E2B9B8480C45}"/>
              </a:ext>
            </a:extLst>
          </p:cNvPr>
          <p:cNvSpPr/>
          <p:nvPr userDrawn="1"/>
        </p:nvSpPr>
        <p:spPr>
          <a:xfrm>
            <a:off x="7956400" y="363337"/>
            <a:ext cx="3611364" cy="93265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1AC7412-3D84-8A1C-A553-4DB955FF55E0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35600" y="4248732"/>
            <a:ext cx="3611364" cy="1842629"/>
          </a:xfrm>
        </p:spPr>
        <p:txBody>
          <a:bodyPr>
            <a:no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9F4D417-B380-83BF-141A-EA845C15F35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196000" y="4248732"/>
            <a:ext cx="3611364" cy="1842629"/>
          </a:xfrm>
        </p:spPr>
        <p:txBody>
          <a:bodyPr>
            <a:no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09D0294-B1FF-B78B-4CD1-48A115BDBD4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956406" y="4259616"/>
            <a:ext cx="3611364" cy="1842629"/>
          </a:xfrm>
        </p:spPr>
        <p:txBody>
          <a:bodyPr>
            <a:noAutofit/>
          </a:bodyPr>
          <a:lstStyle>
            <a:lvl1pPr>
              <a:defRPr sz="1200"/>
            </a:lvl1pPr>
            <a:lvl2pPr marL="685800" indent="-228600">
              <a:buFont typeface="Arial" panose="020B0604020202020204" pitchFamily="34" charset="0"/>
              <a:buChar char="-"/>
              <a:defRPr sz="1200"/>
            </a:lvl2pPr>
            <a:lvl3pPr marL="1143000" indent="-228600">
              <a:buFont typeface="Arial" panose="020B0604020202020204" pitchFamily="34" charset="0"/>
              <a:buChar char="-"/>
              <a:defRPr sz="1200"/>
            </a:lvl3pPr>
            <a:lvl4pPr marL="1600200" indent="-228600">
              <a:buFont typeface="Arial" panose="020B0604020202020204" pitchFamily="34" charset="0"/>
              <a:buChar char="-"/>
              <a:defRPr sz="1200"/>
            </a:lvl4pPr>
            <a:lvl5pPr marL="2057400" indent="-228600"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260AE54-6290-3E36-EC88-AA57601D936A}"/>
              </a:ext>
            </a:extLst>
          </p:cNvPr>
          <p:cNvSpPr/>
          <p:nvPr userDrawn="1"/>
        </p:nvSpPr>
        <p:spPr>
          <a:xfrm>
            <a:off x="435600" y="3305198"/>
            <a:ext cx="3611364" cy="93265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AF41D9A-02EE-3496-20AA-08769A4231E1}"/>
              </a:ext>
            </a:extLst>
          </p:cNvPr>
          <p:cNvSpPr/>
          <p:nvPr userDrawn="1"/>
        </p:nvSpPr>
        <p:spPr>
          <a:xfrm>
            <a:off x="4176542" y="3305198"/>
            <a:ext cx="3611364" cy="93265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61B427-E729-D103-572C-1F0533987A3D}"/>
              </a:ext>
            </a:extLst>
          </p:cNvPr>
          <p:cNvSpPr/>
          <p:nvPr userDrawn="1"/>
        </p:nvSpPr>
        <p:spPr>
          <a:xfrm>
            <a:off x="7956400" y="3316082"/>
            <a:ext cx="3611364" cy="932650"/>
          </a:xfrm>
          <a:prstGeom prst="rect">
            <a:avLst/>
          </a:prstGeom>
          <a:gradFill>
            <a:gsLst>
              <a:gs pos="0">
                <a:srgbClr val="8F1FF7">
                  <a:alpha val="80174"/>
                </a:srgbClr>
              </a:gs>
              <a:gs pos="50000">
                <a:srgbClr val="C2388B">
                  <a:lumMod val="100000"/>
                  <a:alpha val="79779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511E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E5D02504-BEC1-C7A4-B5DA-3A7F66CB9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10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PHONE (S)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raphic 9">
            <a:extLst>
              <a:ext uri="{FF2B5EF4-FFF2-40B4-BE49-F238E27FC236}">
                <a16:creationId xmlns:a16="http://schemas.microsoft.com/office/drawing/2014/main" id="{F30ABBBF-F6F6-64FB-7201-CBDD80C92DB4}"/>
              </a:ext>
            </a:extLst>
          </p:cNvPr>
          <p:cNvSpPr/>
          <p:nvPr userDrawn="1"/>
        </p:nvSpPr>
        <p:spPr>
          <a:xfrm flipH="1">
            <a:off x="7723696" y="0"/>
            <a:ext cx="4461593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gradFill>
            <a:gsLst>
              <a:gs pos="0">
                <a:srgbClr val="8F1FF7">
                  <a:alpha val="80000"/>
                </a:srgbClr>
              </a:gs>
              <a:gs pos="50000">
                <a:srgbClr val="C2388B">
                  <a:lumMod val="100000"/>
                  <a:alpha val="80000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63BC30-6136-4934-A70E-1B179F0FB0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86161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2" name="iPhone 6 white">
            <a:extLst>
              <a:ext uri="{FF2B5EF4-FFF2-40B4-BE49-F238E27FC236}">
                <a16:creationId xmlns:a16="http://schemas.microsoft.com/office/drawing/2014/main" id="{41F5E4A2-726C-419F-A335-441E6A33CCE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514380" y="926170"/>
            <a:ext cx="5393222" cy="5393222"/>
            <a:chOff x="1260" y="0"/>
            <a:chExt cx="3240" cy="3240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E32A0507-09FF-49AD-A3FE-69F214F55E4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60" y="0"/>
              <a:ext cx="3240" cy="3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10C9FE-782D-4BCF-A31C-741745C9B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202"/>
              <a:ext cx="1412" cy="731"/>
            </a:xfrm>
            <a:custGeom>
              <a:avLst/>
              <a:gdLst/>
              <a:ahLst/>
              <a:cxnLst>
                <a:cxn ang="0">
                  <a:pos x="344" y="284"/>
                </a:cxn>
                <a:cxn ang="0">
                  <a:pos x="1054" y="7"/>
                </a:cxn>
                <a:cxn ang="0">
                  <a:pos x="6137" y="7"/>
                </a:cxn>
                <a:cxn ang="0">
                  <a:pos x="6886" y="261"/>
                </a:cxn>
                <a:cxn ang="0">
                  <a:pos x="7214" y="1043"/>
                </a:cxn>
                <a:cxn ang="0">
                  <a:pos x="7214" y="2610"/>
                </a:cxn>
                <a:cxn ang="0">
                  <a:pos x="7231" y="2782"/>
                </a:cxn>
                <a:cxn ang="0">
                  <a:pos x="7242" y="2879"/>
                </a:cxn>
                <a:cxn ang="0">
                  <a:pos x="7210" y="3093"/>
                </a:cxn>
                <a:cxn ang="0">
                  <a:pos x="7209" y="3544"/>
                </a:cxn>
                <a:cxn ang="0">
                  <a:pos x="7246" y="3614"/>
                </a:cxn>
                <a:cxn ang="0">
                  <a:pos x="7208" y="3762"/>
                </a:cxn>
                <a:cxn ang="0">
                  <a:pos x="7205" y="3754"/>
                </a:cxn>
                <a:cxn ang="0">
                  <a:pos x="7238" y="3676"/>
                </a:cxn>
                <a:cxn ang="0">
                  <a:pos x="7222" y="3630"/>
                </a:cxn>
                <a:cxn ang="0">
                  <a:pos x="7194" y="3509"/>
                </a:cxn>
                <a:cxn ang="0">
                  <a:pos x="7194" y="2994"/>
                </a:cxn>
                <a:cxn ang="0">
                  <a:pos x="7223" y="2865"/>
                </a:cxn>
                <a:cxn ang="0">
                  <a:pos x="7193" y="2788"/>
                </a:cxn>
                <a:cxn ang="0">
                  <a:pos x="7178" y="2710"/>
                </a:cxn>
                <a:cxn ang="0">
                  <a:pos x="7179" y="1276"/>
                </a:cxn>
                <a:cxn ang="0">
                  <a:pos x="7149" y="853"/>
                </a:cxn>
                <a:cxn ang="0">
                  <a:pos x="6722" y="197"/>
                </a:cxn>
                <a:cxn ang="0">
                  <a:pos x="6186" y="53"/>
                </a:cxn>
                <a:cxn ang="0">
                  <a:pos x="1336" y="53"/>
                </a:cxn>
                <a:cxn ang="0">
                  <a:pos x="820" y="83"/>
                </a:cxn>
                <a:cxn ang="0">
                  <a:pos x="232" y="503"/>
                </a:cxn>
                <a:cxn ang="0">
                  <a:pos x="100" y="818"/>
                </a:cxn>
                <a:cxn ang="0">
                  <a:pos x="78" y="1143"/>
                </a:cxn>
                <a:cxn ang="0">
                  <a:pos x="73" y="2826"/>
                </a:cxn>
                <a:cxn ang="0">
                  <a:pos x="74" y="2854"/>
                </a:cxn>
                <a:cxn ang="0">
                  <a:pos x="79" y="3444"/>
                </a:cxn>
                <a:cxn ang="0">
                  <a:pos x="74" y="3716"/>
                </a:cxn>
                <a:cxn ang="0">
                  <a:pos x="24" y="3699"/>
                </a:cxn>
                <a:cxn ang="0">
                  <a:pos x="17" y="3722"/>
                </a:cxn>
                <a:cxn ang="0">
                  <a:pos x="0" y="3735"/>
                </a:cxn>
                <a:cxn ang="0">
                  <a:pos x="15" y="3576"/>
                </a:cxn>
                <a:cxn ang="0">
                  <a:pos x="11" y="2823"/>
                </a:cxn>
                <a:cxn ang="0">
                  <a:pos x="41" y="2805"/>
                </a:cxn>
                <a:cxn ang="0">
                  <a:pos x="52" y="2798"/>
                </a:cxn>
                <a:cxn ang="0">
                  <a:pos x="38" y="2220"/>
                </a:cxn>
                <a:cxn ang="0">
                  <a:pos x="33" y="2152"/>
                </a:cxn>
                <a:cxn ang="0">
                  <a:pos x="23" y="1773"/>
                </a:cxn>
                <a:cxn ang="0">
                  <a:pos x="36" y="1724"/>
                </a:cxn>
                <a:cxn ang="0">
                  <a:pos x="43" y="1645"/>
                </a:cxn>
                <a:cxn ang="0">
                  <a:pos x="43" y="993"/>
                </a:cxn>
                <a:cxn ang="0">
                  <a:pos x="344" y="284"/>
                </a:cxn>
              </a:cxnLst>
              <a:rect l="0" t="0" r="r" b="b"/>
              <a:pathLst>
                <a:path w="7270" h="3762">
                  <a:moveTo>
                    <a:pt x="344" y="284"/>
                  </a:moveTo>
                  <a:cubicBezTo>
                    <a:pt x="531" y="100"/>
                    <a:pt x="795" y="13"/>
                    <a:pt x="1054" y="7"/>
                  </a:cubicBezTo>
                  <a:cubicBezTo>
                    <a:pt x="2748" y="7"/>
                    <a:pt x="4443" y="7"/>
                    <a:pt x="6137" y="7"/>
                  </a:cubicBezTo>
                  <a:cubicBezTo>
                    <a:pt x="6405" y="0"/>
                    <a:pt x="6684" y="79"/>
                    <a:pt x="6886" y="261"/>
                  </a:cubicBezTo>
                  <a:cubicBezTo>
                    <a:pt x="7106" y="456"/>
                    <a:pt x="7212" y="754"/>
                    <a:pt x="7214" y="1043"/>
                  </a:cubicBezTo>
                  <a:cubicBezTo>
                    <a:pt x="7215" y="1565"/>
                    <a:pt x="7214" y="2088"/>
                    <a:pt x="7214" y="2610"/>
                  </a:cubicBezTo>
                  <a:cubicBezTo>
                    <a:pt x="7215" y="2667"/>
                    <a:pt x="7205" y="2729"/>
                    <a:pt x="7231" y="2782"/>
                  </a:cubicBezTo>
                  <a:cubicBezTo>
                    <a:pt x="7239" y="2813"/>
                    <a:pt x="7256" y="2847"/>
                    <a:pt x="7242" y="2879"/>
                  </a:cubicBezTo>
                  <a:cubicBezTo>
                    <a:pt x="7196" y="2942"/>
                    <a:pt x="7210" y="3021"/>
                    <a:pt x="7210" y="3093"/>
                  </a:cubicBezTo>
                  <a:cubicBezTo>
                    <a:pt x="7214" y="3243"/>
                    <a:pt x="7208" y="3394"/>
                    <a:pt x="7209" y="3544"/>
                  </a:cubicBezTo>
                  <a:cubicBezTo>
                    <a:pt x="7205" y="3574"/>
                    <a:pt x="7220" y="3599"/>
                    <a:pt x="7246" y="3614"/>
                  </a:cubicBezTo>
                  <a:cubicBezTo>
                    <a:pt x="7245" y="3662"/>
                    <a:pt x="7270" y="3741"/>
                    <a:pt x="7208" y="3762"/>
                  </a:cubicBezTo>
                  <a:lnTo>
                    <a:pt x="7205" y="3754"/>
                  </a:lnTo>
                  <a:cubicBezTo>
                    <a:pt x="7203" y="3723"/>
                    <a:pt x="7216" y="3697"/>
                    <a:pt x="7238" y="3676"/>
                  </a:cubicBezTo>
                  <a:lnTo>
                    <a:pt x="7222" y="3630"/>
                  </a:lnTo>
                  <a:cubicBezTo>
                    <a:pt x="7208" y="3591"/>
                    <a:pt x="7194" y="3551"/>
                    <a:pt x="7194" y="3509"/>
                  </a:cubicBezTo>
                  <a:cubicBezTo>
                    <a:pt x="7192" y="3337"/>
                    <a:pt x="7191" y="3165"/>
                    <a:pt x="7194" y="2994"/>
                  </a:cubicBezTo>
                  <a:cubicBezTo>
                    <a:pt x="7195" y="2949"/>
                    <a:pt x="7210" y="2907"/>
                    <a:pt x="7223" y="2865"/>
                  </a:cubicBezTo>
                  <a:cubicBezTo>
                    <a:pt x="7234" y="2835"/>
                    <a:pt x="7218" y="2804"/>
                    <a:pt x="7193" y="2788"/>
                  </a:cubicBezTo>
                  <a:cubicBezTo>
                    <a:pt x="7182" y="2763"/>
                    <a:pt x="7178" y="2737"/>
                    <a:pt x="7178" y="2710"/>
                  </a:cubicBezTo>
                  <a:cubicBezTo>
                    <a:pt x="7180" y="2232"/>
                    <a:pt x="7178" y="1754"/>
                    <a:pt x="7179" y="1276"/>
                  </a:cubicBezTo>
                  <a:cubicBezTo>
                    <a:pt x="7176" y="1135"/>
                    <a:pt x="7183" y="992"/>
                    <a:pt x="7149" y="853"/>
                  </a:cubicBezTo>
                  <a:cubicBezTo>
                    <a:pt x="7110" y="587"/>
                    <a:pt x="6955" y="335"/>
                    <a:pt x="6722" y="197"/>
                  </a:cubicBezTo>
                  <a:cubicBezTo>
                    <a:pt x="6561" y="100"/>
                    <a:pt x="6373" y="55"/>
                    <a:pt x="6186" y="53"/>
                  </a:cubicBezTo>
                  <a:cubicBezTo>
                    <a:pt x="4570" y="53"/>
                    <a:pt x="2953" y="53"/>
                    <a:pt x="1336" y="53"/>
                  </a:cubicBezTo>
                  <a:cubicBezTo>
                    <a:pt x="1164" y="56"/>
                    <a:pt x="989" y="40"/>
                    <a:pt x="820" y="83"/>
                  </a:cubicBezTo>
                  <a:cubicBezTo>
                    <a:pt x="579" y="137"/>
                    <a:pt x="355" y="285"/>
                    <a:pt x="232" y="503"/>
                  </a:cubicBezTo>
                  <a:cubicBezTo>
                    <a:pt x="163" y="596"/>
                    <a:pt x="129" y="707"/>
                    <a:pt x="100" y="818"/>
                  </a:cubicBezTo>
                  <a:cubicBezTo>
                    <a:pt x="73" y="924"/>
                    <a:pt x="80" y="1034"/>
                    <a:pt x="78" y="1143"/>
                  </a:cubicBezTo>
                  <a:cubicBezTo>
                    <a:pt x="72" y="1704"/>
                    <a:pt x="82" y="2265"/>
                    <a:pt x="73" y="2826"/>
                  </a:cubicBezTo>
                  <a:cubicBezTo>
                    <a:pt x="26" y="2805"/>
                    <a:pt x="28" y="2880"/>
                    <a:pt x="74" y="2854"/>
                  </a:cubicBezTo>
                  <a:cubicBezTo>
                    <a:pt x="85" y="3051"/>
                    <a:pt x="77" y="3248"/>
                    <a:pt x="79" y="3444"/>
                  </a:cubicBezTo>
                  <a:cubicBezTo>
                    <a:pt x="80" y="3535"/>
                    <a:pt x="82" y="3626"/>
                    <a:pt x="74" y="3716"/>
                  </a:cubicBezTo>
                  <a:cubicBezTo>
                    <a:pt x="59" y="3705"/>
                    <a:pt x="42" y="3700"/>
                    <a:pt x="24" y="3699"/>
                  </a:cubicBezTo>
                  <a:cubicBezTo>
                    <a:pt x="22" y="3705"/>
                    <a:pt x="19" y="3716"/>
                    <a:pt x="17" y="3722"/>
                  </a:cubicBezTo>
                  <a:lnTo>
                    <a:pt x="0" y="3735"/>
                  </a:lnTo>
                  <a:cubicBezTo>
                    <a:pt x="8" y="3682"/>
                    <a:pt x="15" y="3629"/>
                    <a:pt x="15" y="3576"/>
                  </a:cubicBezTo>
                  <a:cubicBezTo>
                    <a:pt x="14" y="3325"/>
                    <a:pt x="18" y="3073"/>
                    <a:pt x="11" y="2823"/>
                  </a:cubicBezTo>
                  <a:cubicBezTo>
                    <a:pt x="18" y="2818"/>
                    <a:pt x="33" y="2809"/>
                    <a:pt x="41" y="2805"/>
                  </a:cubicBezTo>
                  <a:cubicBezTo>
                    <a:pt x="44" y="2803"/>
                    <a:pt x="49" y="2799"/>
                    <a:pt x="52" y="2798"/>
                  </a:cubicBezTo>
                  <a:cubicBezTo>
                    <a:pt x="38" y="2605"/>
                    <a:pt x="62" y="2411"/>
                    <a:pt x="38" y="2220"/>
                  </a:cubicBezTo>
                  <a:cubicBezTo>
                    <a:pt x="66" y="2207"/>
                    <a:pt x="61" y="2162"/>
                    <a:pt x="33" y="2152"/>
                  </a:cubicBezTo>
                  <a:cubicBezTo>
                    <a:pt x="36" y="2026"/>
                    <a:pt x="45" y="1898"/>
                    <a:pt x="23" y="1773"/>
                  </a:cubicBezTo>
                  <a:cubicBezTo>
                    <a:pt x="28" y="1757"/>
                    <a:pt x="32" y="1741"/>
                    <a:pt x="36" y="1724"/>
                  </a:cubicBezTo>
                  <a:cubicBezTo>
                    <a:pt x="44" y="1699"/>
                    <a:pt x="43" y="1671"/>
                    <a:pt x="43" y="1645"/>
                  </a:cubicBezTo>
                  <a:cubicBezTo>
                    <a:pt x="41" y="1427"/>
                    <a:pt x="44" y="1210"/>
                    <a:pt x="43" y="993"/>
                  </a:cubicBezTo>
                  <a:cubicBezTo>
                    <a:pt x="53" y="731"/>
                    <a:pt x="152" y="466"/>
                    <a:pt x="344" y="284"/>
                  </a:cubicBezTo>
                </a:path>
              </a:pathLst>
            </a:custGeom>
            <a:solidFill>
              <a:srgbClr val="AFB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CE46E8B-1C6E-40DD-B356-23D847604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4" y="210"/>
              <a:ext cx="1371" cy="2808"/>
            </a:xfrm>
            <a:custGeom>
              <a:avLst/>
              <a:gdLst/>
              <a:ahLst/>
              <a:cxnLst>
                <a:cxn ang="0">
                  <a:pos x="726" y="43"/>
                </a:cxn>
                <a:cxn ang="0">
                  <a:pos x="1242" y="13"/>
                </a:cxn>
                <a:cxn ang="0">
                  <a:pos x="6092" y="13"/>
                </a:cxn>
                <a:cxn ang="0">
                  <a:pos x="6628" y="157"/>
                </a:cxn>
                <a:cxn ang="0">
                  <a:pos x="7055" y="813"/>
                </a:cxn>
                <a:cxn ang="0">
                  <a:pos x="7043" y="943"/>
                </a:cxn>
                <a:cxn ang="0">
                  <a:pos x="7010" y="904"/>
                </a:cxn>
                <a:cxn ang="0">
                  <a:pos x="6962" y="696"/>
                </a:cxn>
                <a:cxn ang="0">
                  <a:pos x="6970" y="875"/>
                </a:cxn>
                <a:cxn ang="0">
                  <a:pos x="6825" y="487"/>
                </a:cxn>
                <a:cxn ang="0">
                  <a:pos x="6126" y="122"/>
                </a:cxn>
                <a:cxn ang="0">
                  <a:pos x="1043" y="115"/>
                </a:cxn>
                <a:cxn ang="0">
                  <a:pos x="460" y="269"/>
                </a:cxn>
                <a:cxn ang="0">
                  <a:pos x="125" y="787"/>
                </a:cxn>
                <a:cxn ang="0">
                  <a:pos x="102" y="1220"/>
                </a:cxn>
                <a:cxn ang="0">
                  <a:pos x="104" y="6953"/>
                </a:cxn>
                <a:cxn ang="0">
                  <a:pos x="108" y="7244"/>
                </a:cxn>
                <a:cxn ang="0">
                  <a:pos x="102" y="8370"/>
                </a:cxn>
                <a:cxn ang="0">
                  <a:pos x="103" y="13504"/>
                </a:cxn>
                <a:cxn ang="0">
                  <a:pos x="354" y="14159"/>
                </a:cxn>
                <a:cxn ang="0">
                  <a:pos x="791" y="14377"/>
                </a:cxn>
                <a:cxn ang="0">
                  <a:pos x="1109" y="14393"/>
                </a:cxn>
                <a:cxn ang="0">
                  <a:pos x="5926" y="14390"/>
                </a:cxn>
                <a:cxn ang="0">
                  <a:pos x="6176" y="14386"/>
                </a:cxn>
                <a:cxn ang="0">
                  <a:pos x="6756" y="14114"/>
                </a:cxn>
                <a:cxn ang="0">
                  <a:pos x="6943" y="13782"/>
                </a:cxn>
                <a:cxn ang="0">
                  <a:pos x="6705" y="14222"/>
                </a:cxn>
                <a:cxn ang="0">
                  <a:pos x="6176" y="14430"/>
                </a:cxn>
                <a:cxn ang="0">
                  <a:pos x="4893" y="14441"/>
                </a:cxn>
                <a:cxn ang="0">
                  <a:pos x="1259" y="14442"/>
                </a:cxn>
                <a:cxn ang="0">
                  <a:pos x="645" y="14385"/>
                </a:cxn>
                <a:cxn ang="0">
                  <a:pos x="281" y="14153"/>
                </a:cxn>
                <a:cxn ang="0">
                  <a:pos x="201" y="14029"/>
                </a:cxn>
                <a:cxn ang="0">
                  <a:pos x="61" y="13554"/>
                </a:cxn>
                <a:cxn ang="0">
                  <a:pos x="51" y="12637"/>
                </a:cxn>
                <a:cxn ang="0">
                  <a:pos x="7" y="11619"/>
                </a:cxn>
                <a:cxn ang="0">
                  <a:pos x="6" y="1369"/>
                </a:cxn>
                <a:cxn ang="0">
                  <a:pos x="11" y="1186"/>
                </a:cxn>
                <a:cxn ang="0">
                  <a:pos x="56" y="1054"/>
                </a:cxn>
                <a:cxn ang="0">
                  <a:pos x="21" y="887"/>
                </a:cxn>
                <a:cxn ang="0">
                  <a:pos x="138" y="463"/>
                </a:cxn>
                <a:cxn ang="0">
                  <a:pos x="726" y="43"/>
                </a:cxn>
              </a:cxnLst>
              <a:rect l="0" t="0" r="r" b="b"/>
              <a:pathLst>
                <a:path w="7055" h="14454">
                  <a:moveTo>
                    <a:pt x="726" y="43"/>
                  </a:moveTo>
                  <a:cubicBezTo>
                    <a:pt x="895" y="0"/>
                    <a:pt x="1070" y="16"/>
                    <a:pt x="1242" y="13"/>
                  </a:cubicBezTo>
                  <a:cubicBezTo>
                    <a:pt x="2859" y="13"/>
                    <a:pt x="4476" y="13"/>
                    <a:pt x="6092" y="13"/>
                  </a:cubicBezTo>
                  <a:cubicBezTo>
                    <a:pt x="6279" y="15"/>
                    <a:pt x="6467" y="60"/>
                    <a:pt x="6628" y="157"/>
                  </a:cubicBezTo>
                  <a:cubicBezTo>
                    <a:pt x="6861" y="295"/>
                    <a:pt x="7016" y="547"/>
                    <a:pt x="7055" y="813"/>
                  </a:cubicBezTo>
                  <a:cubicBezTo>
                    <a:pt x="7052" y="856"/>
                    <a:pt x="7047" y="900"/>
                    <a:pt x="7043" y="943"/>
                  </a:cubicBezTo>
                  <a:cubicBezTo>
                    <a:pt x="7023" y="936"/>
                    <a:pt x="7012" y="923"/>
                    <a:pt x="7010" y="904"/>
                  </a:cubicBezTo>
                  <a:cubicBezTo>
                    <a:pt x="7000" y="833"/>
                    <a:pt x="6994" y="761"/>
                    <a:pt x="6962" y="696"/>
                  </a:cubicBezTo>
                  <a:cubicBezTo>
                    <a:pt x="6964" y="755"/>
                    <a:pt x="6967" y="815"/>
                    <a:pt x="6970" y="875"/>
                  </a:cubicBezTo>
                  <a:cubicBezTo>
                    <a:pt x="6939" y="740"/>
                    <a:pt x="6904" y="603"/>
                    <a:pt x="6825" y="487"/>
                  </a:cubicBezTo>
                  <a:cubicBezTo>
                    <a:pt x="6676" y="254"/>
                    <a:pt x="6398" y="125"/>
                    <a:pt x="6126" y="122"/>
                  </a:cubicBezTo>
                  <a:cubicBezTo>
                    <a:pt x="4432" y="119"/>
                    <a:pt x="2738" y="117"/>
                    <a:pt x="1043" y="115"/>
                  </a:cubicBezTo>
                  <a:cubicBezTo>
                    <a:pt x="840" y="111"/>
                    <a:pt x="630" y="153"/>
                    <a:pt x="460" y="269"/>
                  </a:cubicBezTo>
                  <a:cubicBezTo>
                    <a:pt x="284" y="387"/>
                    <a:pt x="167" y="581"/>
                    <a:pt x="125" y="787"/>
                  </a:cubicBezTo>
                  <a:cubicBezTo>
                    <a:pt x="93" y="929"/>
                    <a:pt x="104" y="1075"/>
                    <a:pt x="102" y="1220"/>
                  </a:cubicBezTo>
                  <a:cubicBezTo>
                    <a:pt x="102" y="3131"/>
                    <a:pt x="103" y="5042"/>
                    <a:pt x="104" y="6953"/>
                  </a:cubicBezTo>
                  <a:cubicBezTo>
                    <a:pt x="104" y="7050"/>
                    <a:pt x="101" y="7147"/>
                    <a:pt x="108" y="7244"/>
                  </a:cubicBezTo>
                  <a:cubicBezTo>
                    <a:pt x="95" y="7619"/>
                    <a:pt x="106" y="7995"/>
                    <a:pt x="102" y="8370"/>
                  </a:cubicBezTo>
                  <a:cubicBezTo>
                    <a:pt x="102" y="10082"/>
                    <a:pt x="103" y="11793"/>
                    <a:pt x="103" y="13504"/>
                  </a:cubicBezTo>
                  <a:cubicBezTo>
                    <a:pt x="98" y="13743"/>
                    <a:pt x="185" y="13987"/>
                    <a:pt x="354" y="14159"/>
                  </a:cubicBezTo>
                  <a:cubicBezTo>
                    <a:pt x="474" y="14272"/>
                    <a:pt x="630" y="14344"/>
                    <a:pt x="791" y="14377"/>
                  </a:cubicBezTo>
                  <a:cubicBezTo>
                    <a:pt x="895" y="14399"/>
                    <a:pt x="1003" y="14393"/>
                    <a:pt x="1109" y="14393"/>
                  </a:cubicBezTo>
                  <a:cubicBezTo>
                    <a:pt x="2715" y="14392"/>
                    <a:pt x="4320" y="14391"/>
                    <a:pt x="5926" y="14390"/>
                  </a:cubicBezTo>
                  <a:cubicBezTo>
                    <a:pt x="6009" y="14389"/>
                    <a:pt x="6093" y="14391"/>
                    <a:pt x="6176" y="14386"/>
                  </a:cubicBezTo>
                  <a:cubicBezTo>
                    <a:pt x="6394" y="14375"/>
                    <a:pt x="6612" y="14281"/>
                    <a:pt x="6756" y="14114"/>
                  </a:cubicBezTo>
                  <a:cubicBezTo>
                    <a:pt x="6847" y="14022"/>
                    <a:pt x="6890" y="13897"/>
                    <a:pt x="6943" y="13782"/>
                  </a:cubicBezTo>
                  <a:cubicBezTo>
                    <a:pt x="6940" y="13960"/>
                    <a:pt x="6813" y="14094"/>
                    <a:pt x="6705" y="14222"/>
                  </a:cubicBezTo>
                  <a:cubicBezTo>
                    <a:pt x="6556" y="14345"/>
                    <a:pt x="6369" y="14419"/>
                    <a:pt x="6176" y="14430"/>
                  </a:cubicBezTo>
                  <a:cubicBezTo>
                    <a:pt x="5749" y="14438"/>
                    <a:pt x="5320" y="14421"/>
                    <a:pt x="4893" y="14441"/>
                  </a:cubicBezTo>
                  <a:cubicBezTo>
                    <a:pt x="3681" y="14441"/>
                    <a:pt x="2470" y="14442"/>
                    <a:pt x="1259" y="14442"/>
                  </a:cubicBezTo>
                  <a:cubicBezTo>
                    <a:pt x="1053" y="14442"/>
                    <a:pt x="842" y="14454"/>
                    <a:pt x="645" y="14385"/>
                  </a:cubicBezTo>
                  <a:cubicBezTo>
                    <a:pt x="506" y="14341"/>
                    <a:pt x="382" y="14257"/>
                    <a:pt x="281" y="14153"/>
                  </a:cubicBezTo>
                  <a:cubicBezTo>
                    <a:pt x="254" y="14112"/>
                    <a:pt x="227" y="14071"/>
                    <a:pt x="201" y="14029"/>
                  </a:cubicBezTo>
                  <a:cubicBezTo>
                    <a:pt x="110" y="13888"/>
                    <a:pt x="66" y="13720"/>
                    <a:pt x="61" y="13554"/>
                  </a:cubicBezTo>
                  <a:cubicBezTo>
                    <a:pt x="53" y="13248"/>
                    <a:pt x="56" y="12942"/>
                    <a:pt x="51" y="12637"/>
                  </a:cubicBezTo>
                  <a:cubicBezTo>
                    <a:pt x="2" y="12300"/>
                    <a:pt x="24" y="11958"/>
                    <a:pt x="7" y="11619"/>
                  </a:cubicBezTo>
                  <a:cubicBezTo>
                    <a:pt x="6" y="8203"/>
                    <a:pt x="6" y="4786"/>
                    <a:pt x="6" y="1369"/>
                  </a:cubicBezTo>
                  <a:cubicBezTo>
                    <a:pt x="7" y="1308"/>
                    <a:pt x="0" y="1247"/>
                    <a:pt x="11" y="1186"/>
                  </a:cubicBezTo>
                  <a:cubicBezTo>
                    <a:pt x="30" y="1143"/>
                    <a:pt x="60" y="1103"/>
                    <a:pt x="56" y="1054"/>
                  </a:cubicBezTo>
                  <a:cubicBezTo>
                    <a:pt x="63" y="995"/>
                    <a:pt x="39" y="941"/>
                    <a:pt x="21" y="887"/>
                  </a:cubicBezTo>
                  <a:cubicBezTo>
                    <a:pt x="23" y="737"/>
                    <a:pt x="95" y="603"/>
                    <a:pt x="138" y="463"/>
                  </a:cubicBezTo>
                  <a:cubicBezTo>
                    <a:pt x="261" y="245"/>
                    <a:pt x="485" y="97"/>
                    <a:pt x="726" y="43"/>
                  </a:cubicBezTo>
                </a:path>
              </a:pathLst>
            </a:custGeom>
            <a:solidFill>
              <a:srgbClr val="DDDE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BD6CF50-3204-40F3-91E9-9FBB9AE5C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2" y="231"/>
              <a:ext cx="1339" cy="1898"/>
            </a:xfrm>
            <a:custGeom>
              <a:avLst/>
              <a:gdLst/>
              <a:ahLst/>
              <a:cxnLst>
                <a:cxn ang="0">
                  <a:pos x="367" y="158"/>
                </a:cxn>
                <a:cxn ang="0">
                  <a:pos x="950" y="4"/>
                </a:cxn>
                <a:cxn ang="0">
                  <a:pos x="6033" y="11"/>
                </a:cxn>
                <a:cxn ang="0">
                  <a:pos x="6732" y="376"/>
                </a:cxn>
                <a:cxn ang="0">
                  <a:pos x="6877" y="764"/>
                </a:cxn>
                <a:cxn ang="0">
                  <a:pos x="6889" y="926"/>
                </a:cxn>
                <a:cxn ang="0">
                  <a:pos x="6888" y="6542"/>
                </a:cxn>
                <a:cxn ang="0">
                  <a:pos x="6885" y="7168"/>
                </a:cxn>
                <a:cxn ang="0">
                  <a:pos x="6863" y="7059"/>
                </a:cxn>
                <a:cxn ang="0">
                  <a:pos x="6864" y="6108"/>
                </a:cxn>
                <a:cxn ang="0">
                  <a:pos x="6856" y="5872"/>
                </a:cxn>
                <a:cxn ang="0">
                  <a:pos x="6847" y="6623"/>
                </a:cxn>
                <a:cxn ang="0">
                  <a:pos x="6781" y="6624"/>
                </a:cxn>
                <a:cxn ang="0">
                  <a:pos x="6767" y="6543"/>
                </a:cxn>
                <a:cxn ang="0">
                  <a:pos x="6764" y="5880"/>
                </a:cxn>
                <a:cxn ang="0">
                  <a:pos x="6667" y="5872"/>
                </a:cxn>
                <a:cxn ang="0">
                  <a:pos x="6666" y="1760"/>
                </a:cxn>
                <a:cxn ang="0">
                  <a:pos x="6655" y="1516"/>
                </a:cxn>
                <a:cxn ang="0">
                  <a:pos x="6654" y="1510"/>
                </a:cxn>
                <a:cxn ang="0">
                  <a:pos x="6615" y="1471"/>
                </a:cxn>
                <a:cxn ang="0">
                  <a:pos x="6611" y="1470"/>
                </a:cxn>
                <a:cxn ang="0">
                  <a:pos x="6366" y="1459"/>
                </a:cxn>
                <a:cxn ang="0">
                  <a:pos x="351" y="1458"/>
                </a:cxn>
                <a:cxn ang="0">
                  <a:pos x="277" y="1475"/>
                </a:cxn>
                <a:cxn ang="0">
                  <a:pos x="272" y="1476"/>
                </a:cxn>
                <a:cxn ang="0">
                  <a:pos x="220" y="1483"/>
                </a:cxn>
                <a:cxn ang="0">
                  <a:pos x="218" y="3125"/>
                </a:cxn>
                <a:cxn ang="0">
                  <a:pos x="221" y="9141"/>
                </a:cxn>
                <a:cxn ang="0">
                  <a:pos x="212" y="9766"/>
                </a:cxn>
                <a:cxn ang="0">
                  <a:pos x="198" y="9625"/>
                </a:cxn>
                <a:cxn ang="0">
                  <a:pos x="198" y="8042"/>
                </a:cxn>
                <a:cxn ang="0">
                  <a:pos x="195" y="7143"/>
                </a:cxn>
                <a:cxn ang="0">
                  <a:pos x="119" y="7143"/>
                </a:cxn>
                <a:cxn ang="0">
                  <a:pos x="110" y="7720"/>
                </a:cxn>
                <a:cxn ang="0">
                  <a:pos x="38" y="7725"/>
                </a:cxn>
                <a:cxn ang="0">
                  <a:pos x="36" y="7259"/>
                </a:cxn>
                <a:cxn ang="0">
                  <a:pos x="15" y="7133"/>
                </a:cxn>
                <a:cxn ang="0">
                  <a:pos x="11" y="6842"/>
                </a:cxn>
                <a:cxn ang="0">
                  <a:pos x="9" y="1109"/>
                </a:cxn>
                <a:cxn ang="0">
                  <a:pos x="32" y="676"/>
                </a:cxn>
                <a:cxn ang="0">
                  <a:pos x="367" y="158"/>
                </a:cxn>
              </a:cxnLst>
              <a:rect l="0" t="0" r="r" b="b"/>
              <a:pathLst>
                <a:path w="6892" h="9766">
                  <a:moveTo>
                    <a:pt x="367" y="158"/>
                  </a:moveTo>
                  <a:cubicBezTo>
                    <a:pt x="537" y="42"/>
                    <a:pt x="747" y="0"/>
                    <a:pt x="950" y="4"/>
                  </a:cubicBezTo>
                  <a:cubicBezTo>
                    <a:pt x="2645" y="6"/>
                    <a:pt x="4339" y="8"/>
                    <a:pt x="6033" y="11"/>
                  </a:cubicBezTo>
                  <a:cubicBezTo>
                    <a:pt x="6305" y="14"/>
                    <a:pt x="6583" y="143"/>
                    <a:pt x="6732" y="376"/>
                  </a:cubicBezTo>
                  <a:cubicBezTo>
                    <a:pt x="6811" y="492"/>
                    <a:pt x="6846" y="629"/>
                    <a:pt x="6877" y="764"/>
                  </a:cubicBezTo>
                  <a:cubicBezTo>
                    <a:pt x="6883" y="818"/>
                    <a:pt x="6888" y="872"/>
                    <a:pt x="6889" y="926"/>
                  </a:cubicBezTo>
                  <a:cubicBezTo>
                    <a:pt x="6888" y="2798"/>
                    <a:pt x="6889" y="4670"/>
                    <a:pt x="6888" y="6542"/>
                  </a:cubicBezTo>
                  <a:cubicBezTo>
                    <a:pt x="6887" y="6751"/>
                    <a:pt x="6892" y="6960"/>
                    <a:pt x="6885" y="7168"/>
                  </a:cubicBezTo>
                  <a:cubicBezTo>
                    <a:pt x="6875" y="7133"/>
                    <a:pt x="6863" y="7097"/>
                    <a:pt x="6863" y="7059"/>
                  </a:cubicBezTo>
                  <a:cubicBezTo>
                    <a:pt x="6866" y="6742"/>
                    <a:pt x="6864" y="6425"/>
                    <a:pt x="6864" y="6108"/>
                  </a:cubicBezTo>
                  <a:cubicBezTo>
                    <a:pt x="6865" y="6029"/>
                    <a:pt x="6867" y="5950"/>
                    <a:pt x="6856" y="5872"/>
                  </a:cubicBezTo>
                  <a:cubicBezTo>
                    <a:pt x="6837" y="6122"/>
                    <a:pt x="6857" y="6373"/>
                    <a:pt x="6847" y="6623"/>
                  </a:cubicBezTo>
                  <a:cubicBezTo>
                    <a:pt x="6825" y="6623"/>
                    <a:pt x="6803" y="6624"/>
                    <a:pt x="6781" y="6624"/>
                  </a:cubicBezTo>
                  <a:cubicBezTo>
                    <a:pt x="6775" y="6597"/>
                    <a:pt x="6769" y="6570"/>
                    <a:pt x="6767" y="6543"/>
                  </a:cubicBezTo>
                  <a:cubicBezTo>
                    <a:pt x="6763" y="6322"/>
                    <a:pt x="6772" y="6100"/>
                    <a:pt x="6764" y="5880"/>
                  </a:cubicBezTo>
                  <a:cubicBezTo>
                    <a:pt x="6732" y="5877"/>
                    <a:pt x="6699" y="5874"/>
                    <a:pt x="6667" y="5872"/>
                  </a:cubicBezTo>
                  <a:cubicBezTo>
                    <a:pt x="6668" y="4501"/>
                    <a:pt x="6666" y="3130"/>
                    <a:pt x="6666" y="1760"/>
                  </a:cubicBezTo>
                  <a:cubicBezTo>
                    <a:pt x="6664" y="1678"/>
                    <a:pt x="6675" y="1596"/>
                    <a:pt x="6655" y="1516"/>
                  </a:cubicBezTo>
                  <a:lnTo>
                    <a:pt x="6654" y="1510"/>
                  </a:lnTo>
                  <a:cubicBezTo>
                    <a:pt x="6639" y="1500"/>
                    <a:pt x="6626" y="1486"/>
                    <a:pt x="6615" y="1471"/>
                  </a:cubicBezTo>
                  <a:lnTo>
                    <a:pt x="6611" y="1470"/>
                  </a:lnTo>
                  <a:cubicBezTo>
                    <a:pt x="6530" y="1451"/>
                    <a:pt x="6448" y="1460"/>
                    <a:pt x="6366" y="1459"/>
                  </a:cubicBezTo>
                  <a:cubicBezTo>
                    <a:pt x="4361" y="1458"/>
                    <a:pt x="2356" y="1459"/>
                    <a:pt x="351" y="1458"/>
                  </a:cubicBezTo>
                  <a:cubicBezTo>
                    <a:pt x="325" y="1458"/>
                    <a:pt x="301" y="1467"/>
                    <a:pt x="277" y="1475"/>
                  </a:cubicBezTo>
                  <a:lnTo>
                    <a:pt x="272" y="1476"/>
                  </a:lnTo>
                  <a:cubicBezTo>
                    <a:pt x="254" y="1478"/>
                    <a:pt x="237" y="1480"/>
                    <a:pt x="220" y="1483"/>
                  </a:cubicBezTo>
                  <a:cubicBezTo>
                    <a:pt x="213" y="2030"/>
                    <a:pt x="219" y="2577"/>
                    <a:pt x="218" y="3125"/>
                  </a:cubicBezTo>
                  <a:cubicBezTo>
                    <a:pt x="216" y="5130"/>
                    <a:pt x="221" y="7136"/>
                    <a:pt x="221" y="9141"/>
                  </a:cubicBezTo>
                  <a:cubicBezTo>
                    <a:pt x="218" y="9349"/>
                    <a:pt x="233" y="9558"/>
                    <a:pt x="212" y="9766"/>
                  </a:cubicBezTo>
                  <a:cubicBezTo>
                    <a:pt x="205" y="9719"/>
                    <a:pt x="198" y="9672"/>
                    <a:pt x="198" y="9625"/>
                  </a:cubicBezTo>
                  <a:cubicBezTo>
                    <a:pt x="201" y="9097"/>
                    <a:pt x="196" y="8570"/>
                    <a:pt x="198" y="8042"/>
                  </a:cubicBezTo>
                  <a:cubicBezTo>
                    <a:pt x="195" y="7742"/>
                    <a:pt x="200" y="7443"/>
                    <a:pt x="195" y="7143"/>
                  </a:cubicBezTo>
                  <a:cubicBezTo>
                    <a:pt x="170" y="7143"/>
                    <a:pt x="145" y="7143"/>
                    <a:pt x="119" y="7143"/>
                  </a:cubicBezTo>
                  <a:cubicBezTo>
                    <a:pt x="108" y="7335"/>
                    <a:pt x="127" y="7528"/>
                    <a:pt x="110" y="7720"/>
                  </a:cubicBezTo>
                  <a:cubicBezTo>
                    <a:pt x="86" y="7721"/>
                    <a:pt x="62" y="7723"/>
                    <a:pt x="38" y="7725"/>
                  </a:cubicBezTo>
                  <a:cubicBezTo>
                    <a:pt x="31" y="7570"/>
                    <a:pt x="35" y="7414"/>
                    <a:pt x="36" y="7259"/>
                  </a:cubicBezTo>
                  <a:cubicBezTo>
                    <a:pt x="37" y="7216"/>
                    <a:pt x="26" y="7174"/>
                    <a:pt x="15" y="7133"/>
                  </a:cubicBezTo>
                  <a:cubicBezTo>
                    <a:pt x="8" y="7036"/>
                    <a:pt x="11" y="6939"/>
                    <a:pt x="11" y="6842"/>
                  </a:cubicBezTo>
                  <a:cubicBezTo>
                    <a:pt x="10" y="4931"/>
                    <a:pt x="9" y="3020"/>
                    <a:pt x="9" y="1109"/>
                  </a:cubicBezTo>
                  <a:cubicBezTo>
                    <a:pt x="11" y="964"/>
                    <a:pt x="0" y="818"/>
                    <a:pt x="32" y="676"/>
                  </a:cubicBezTo>
                  <a:cubicBezTo>
                    <a:pt x="74" y="470"/>
                    <a:pt x="191" y="276"/>
                    <a:pt x="367" y="158"/>
                  </a:cubicBezTo>
                </a:path>
              </a:pathLst>
            </a:custGeom>
            <a:solidFill>
              <a:srgbClr val="F5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4EA5145-DE56-41E5-8409-47C58CCB7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" y="275"/>
              <a:ext cx="31" cy="37"/>
            </a:xfrm>
            <a:custGeom>
              <a:avLst/>
              <a:gdLst/>
              <a:ahLst/>
              <a:cxnLst>
                <a:cxn ang="0">
                  <a:pos x="41" y="39"/>
                </a:cxn>
                <a:cxn ang="0">
                  <a:pos x="149" y="101"/>
                </a:cxn>
                <a:cxn ang="0">
                  <a:pos x="21" y="130"/>
                </a:cxn>
                <a:cxn ang="0">
                  <a:pos x="41" y="39"/>
                </a:cxn>
              </a:cxnLst>
              <a:rect l="0" t="0" r="r" b="b"/>
              <a:pathLst>
                <a:path w="160" h="187">
                  <a:moveTo>
                    <a:pt x="41" y="39"/>
                  </a:moveTo>
                  <a:cubicBezTo>
                    <a:pt x="84" y="0"/>
                    <a:pt x="160" y="43"/>
                    <a:pt x="149" y="101"/>
                  </a:cubicBezTo>
                  <a:cubicBezTo>
                    <a:pt x="152" y="166"/>
                    <a:pt x="48" y="187"/>
                    <a:pt x="21" y="130"/>
                  </a:cubicBezTo>
                  <a:cubicBezTo>
                    <a:pt x="0" y="101"/>
                    <a:pt x="12" y="58"/>
                    <a:pt x="41" y="39"/>
                  </a:cubicBezTo>
                  <a:close/>
                </a:path>
              </a:pathLst>
            </a:custGeom>
            <a:solidFill>
              <a:srgbClr val="30313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275EE7C5-C3A6-4F97-AE69-5A21E7795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300"/>
              <a:ext cx="72" cy="2660"/>
            </a:xfrm>
            <a:custGeom>
              <a:avLst/>
              <a:gdLst/>
              <a:ahLst/>
              <a:cxnLst>
                <a:cxn ang="0">
                  <a:pos x="232" y="0"/>
                </a:cxn>
                <a:cxn ang="0">
                  <a:pos x="115" y="424"/>
                </a:cxn>
                <a:cxn ang="0">
                  <a:pos x="150" y="591"/>
                </a:cxn>
                <a:cxn ang="0">
                  <a:pos x="105" y="723"/>
                </a:cxn>
                <a:cxn ang="0">
                  <a:pos x="100" y="906"/>
                </a:cxn>
                <a:cxn ang="0">
                  <a:pos x="101" y="11156"/>
                </a:cxn>
                <a:cxn ang="0">
                  <a:pos x="145" y="12174"/>
                </a:cxn>
                <a:cxn ang="0">
                  <a:pos x="155" y="13091"/>
                </a:cxn>
                <a:cxn ang="0">
                  <a:pos x="295" y="13566"/>
                </a:cxn>
                <a:cxn ang="0">
                  <a:pos x="375" y="13690"/>
                </a:cxn>
                <a:cxn ang="0">
                  <a:pos x="283" y="13595"/>
                </a:cxn>
                <a:cxn ang="0">
                  <a:pos x="130" y="13204"/>
                </a:cxn>
                <a:cxn ang="0">
                  <a:pos x="109" y="12840"/>
                </a:cxn>
                <a:cxn ang="0">
                  <a:pos x="76" y="12017"/>
                </a:cxn>
                <a:cxn ang="0">
                  <a:pos x="66" y="11091"/>
                </a:cxn>
                <a:cxn ang="0">
                  <a:pos x="66" y="5741"/>
                </a:cxn>
                <a:cxn ang="0">
                  <a:pos x="62" y="4451"/>
                </a:cxn>
                <a:cxn ang="0">
                  <a:pos x="58" y="5507"/>
                </a:cxn>
                <a:cxn ang="0">
                  <a:pos x="58" y="10774"/>
                </a:cxn>
                <a:cxn ang="0">
                  <a:pos x="60" y="11990"/>
                </a:cxn>
                <a:cxn ang="0">
                  <a:pos x="48" y="12657"/>
                </a:cxn>
                <a:cxn ang="0">
                  <a:pos x="51" y="13176"/>
                </a:cxn>
                <a:cxn ang="0">
                  <a:pos x="42" y="12924"/>
                </a:cxn>
                <a:cxn ang="0">
                  <a:pos x="38" y="12040"/>
                </a:cxn>
                <a:cxn ang="0">
                  <a:pos x="39" y="4506"/>
                </a:cxn>
                <a:cxn ang="0">
                  <a:pos x="60" y="4406"/>
                </a:cxn>
                <a:cxn ang="0">
                  <a:pos x="61" y="3573"/>
                </a:cxn>
                <a:cxn ang="0">
                  <a:pos x="75" y="3467"/>
                </a:cxn>
                <a:cxn ang="0">
                  <a:pos x="2" y="3488"/>
                </a:cxn>
                <a:cxn ang="0">
                  <a:pos x="65" y="3449"/>
                </a:cxn>
                <a:cxn ang="0">
                  <a:pos x="65" y="3266"/>
                </a:cxn>
                <a:cxn ang="0">
                  <a:pos x="0" y="3232"/>
                </a:cxn>
                <a:cxn ang="0">
                  <a:pos x="17" y="3219"/>
                </a:cxn>
                <a:cxn ang="0">
                  <a:pos x="74" y="3213"/>
                </a:cxn>
                <a:cxn ang="0">
                  <a:pos x="79" y="2941"/>
                </a:cxn>
                <a:cxn ang="0">
                  <a:pos x="74" y="2351"/>
                </a:cxn>
                <a:cxn ang="0">
                  <a:pos x="73" y="2323"/>
                </a:cxn>
                <a:cxn ang="0">
                  <a:pos x="78" y="640"/>
                </a:cxn>
                <a:cxn ang="0">
                  <a:pos x="100" y="315"/>
                </a:cxn>
                <a:cxn ang="0">
                  <a:pos x="232" y="0"/>
                </a:cxn>
              </a:cxnLst>
              <a:rect l="0" t="0" r="r" b="b"/>
              <a:pathLst>
                <a:path w="375" h="13690">
                  <a:moveTo>
                    <a:pt x="232" y="0"/>
                  </a:moveTo>
                  <a:cubicBezTo>
                    <a:pt x="189" y="140"/>
                    <a:pt x="117" y="274"/>
                    <a:pt x="115" y="424"/>
                  </a:cubicBezTo>
                  <a:cubicBezTo>
                    <a:pt x="133" y="478"/>
                    <a:pt x="157" y="532"/>
                    <a:pt x="150" y="591"/>
                  </a:cubicBezTo>
                  <a:cubicBezTo>
                    <a:pt x="154" y="640"/>
                    <a:pt x="124" y="680"/>
                    <a:pt x="105" y="723"/>
                  </a:cubicBezTo>
                  <a:cubicBezTo>
                    <a:pt x="94" y="784"/>
                    <a:pt x="101" y="845"/>
                    <a:pt x="100" y="906"/>
                  </a:cubicBezTo>
                  <a:cubicBezTo>
                    <a:pt x="100" y="4323"/>
                    <a:pt x="100" y="7740"/>
                    <a:pt x="101" y="11156"/>
                  </a:cubicBezTo>
                  <a:cubicBezTo>
                    <a:pt x="118" y="11495"/>
                    <a:pt x="96" y="11837"/>
                    <a:pt x="145" y="12174"/>
                  </a:cubicBezTo>
                  <a:cubicBezTo>
                    <a:pt x="150" y="12479"/>
                    <a:pt x="147" y="12785"/>
                    <a:pt x="155" y="13091"/>
                  </a:cubicBezTo>
                  <a:cubicBezTo>
                    <a:pt x="160" y="13257"/>
                    <a:pt x="204" y="13425"/>
                    <a:pt x="295" y="13566"/>
                  </a:cubicBezTo>
                  <a:cubicBezTo>
                    <a:pt x="321" y="13608"/>
                    <a:pt x="348" y="13649"/>
                    <a:pt x="375" y="13690"/>
                  </a:cubicBezTo>
                  <a:cubicBezTo>
                    <a:pt x="342" y="13661"/>
                    <a:pt x="307" y="13633"/>
                    <a:pt x="283" y="13595"/>
                  </a:cubicBezTo>
                  <a:cubicBezTo>
                    <a:pt x="208" y="13476"/>
                    <a:pt x="152" y="13343"/>
                    <a:pt x="130" y="13204"/>
                  </a:cubicBezTo>
                  <a:cubicBezTo>
                    <a:pt x="104" y="13084"/>
                    <a:pt x="117" y="12961"/>
                    <a:pt x="109" y="12840"/>
                  </a:cubicBezTo>
                  <a:cubicBezTo>
                    <a:pt x="82" y="12567"/>
                    <a:pt x="104" y="12291"/>
                    <a:pt x="76" y="12017"/>
                  </a:cubicBezTo>
                  <a:cubicBezTo>
                    <a:pt x="59" y="11709"/>
                    <a:pt x="69" y="11400"/>
                    <a:pt x="66" y="11091"/>
                  </a:cubicBezTo>
                  <a:cubicBezTo>
                    <a:pt x="65" y="9307"/>
                    <a:pt x="66" y="7524"/>
                    <a:pt x="66" y="5741"/>
                  </a:cubicBezTo>
                  <a:cubicBezTo>
                    <a:pt x="64" y="5311"/>
                    <a:pt x="70" y="4881"/>
                    <a:pt x="62" y="4451"/>
                  </a:cubicBezTo>
                  <a:cubicBezTo>
                    <a:pt x="53" y="4803"/>
                    <a:pt x="61" y="5155"/>
                    <a:pt x="58" y="5507"/>
                  </a:cubicBezTo>
                  <a:cubicBezTo>
                    <a:pt x="58" y="7263"/>
                    <a:pt x="58" y="9019"/>
                    <a:pt x="58" y="10774"/>
                  </a:cubicBezTo>
                  <a:cubicBezTo>
                    <a:pt x="60" y="11179"/>
                    <a:pt x="54" y="11585"/>
                    <a:pt x="60" y="11990"/>
                  </a:cubicBezTo>
                  <a:cubicBezTo>
                    <a:pt x="41" y="12212"/>
                    <a:pt x="51" y="12435"/>
                    <a:pt x="48" y="12657"/>
                  </a:cubicBezTo>
                  <a:cubicBezTo>
                    <a:pt x="50" y="12830"/>
                    <a:pt x="47" y="13003"/>
                    <a:pt x="51" y="13176"/>
                  </a:cubicBezTo>
                  <a:cubicBezTo>
                    <a:pt x="35" y="13093"/>
                    <a:pt x="44" y="13008"/>
                    <a:pt x="42" y="12924"/>
                  </a:cubicBezTo>
                  <a:cubicBezTo>
                    <a:pt x="41" y="12629"/>
                    <a:pt x="46" y="12334"/>
                    <a:pt x="38" y="12040"/>
                  </a:cubicBezTo>
                  <a:cubicBezTo>
                    <a:pt x="40" y="9529"/>
                    <a:pt x="39" y="7018"/>
                    <a:pt x="39" y="4506"/>
                  </a:cubicBezTo>
                  <a:cubicBezTo>
                    <a:pt x="38" y="4472"/>
                    <a:pt x="51" y="4439"/>
                    <a:pt x="60" y="4406"/>
                  </a:cubicBezTo>
                  <a:cubicBezTo>
                    <a:pt x="65" y="4129"/>
                    <a:pt x="60" y="3851"/>
                    <a:pt x="61" y="3573"/>
                  </a:cubicBezTo>
                  <a:cubicBezTo>
                    <a:pt x="63" y="3538"/>
                    <a:pt x="69" y="3502"/>
                    <a:pt x="75" y="3467"/>
                  </a:cubicBezTo>
                  <a:cubicBezTo>
                    <a:pt x="51" y="3475"/>
                    <a:pt x="26" y="3482"/>
                    <a:pt x="2" y="3488"/>
                  </a:cubicBezTo>
                  <a:cubicBezTo>
                    <a:pt x="22" y="3473"/>
                    <a:pt x="43" y="3460"/>
                    <a:pt x="65" y="3449"/>
                  </a:cubicBezTo>
                  <a:cubicBezTo>
                    <a:pt x="66" y="3388"/>
                    <a:pt x="66" y="3327"/>
                    <a:pt x="65" y="3266"/>
                  </a:cubicBezTo>
                  <a:cubicBezTo>
                    <a:pt x="44" y="3254"/>
                    <a:pt x="22" y="3243"/>
                    <a:pt x="0" y="3232"/>
                  </a:cubicBezTo>
                  <a:lnTo>
                    <a:pt x="17" y="3219"/>
                  </a:lnTo>
                  <a:cubicBezTo>
                    <a:pt x="32" y="3238"/>
                    <a:pt x="77" y="3251"/>
                    <a:pt x="74" y="3213"/>
                  </a:cubicBezTo>
                  <a:cubicBezTo>
                    <a:pt x="82" y="3123"/>
                    <a:pt x="80" y="3032"/>
                    <a:pt x="79" y="2941"/>
                  </a:cubicBezTo>
                  <a:cubicBezTo>
                    <a:pt x="77" y="2745"/>
                    <a:pt x="85" y="2548"/>
                    <a:pt x="74" y="2351"/>
                  </a:cubicBezTo>
                  <a:cubicBezTo>
                    <a:pt x="74" y="2344"/>
                    <a:pt x="73" y="2330"/>
                    <a:pt x="73" y="2323"/>
                  </a:cubicBezTo>
                  <a:cubicBezTo>
                    <a:pt x="82" y="1762"/>
                    <a:pt x="72" y="1201"/>
                    <a:pt x="78" y="640"/>
                  </a:cubicBezTo>
                  <a:cubicBezTo>
                    <a:pt x="80" y="531"/>
                    <a:pt x="73" y="421"/>
                    <a:pt x="100" y="315"/>
                  </a:cubicBezTo>
                  <a:cubicBezTo>
                    <a:pt x="129" y="204"/>
                    <a:pt x="163" y="93"/>
                    <a:pt x="232" y="0"/>
                  </a:cubicBezTo>
                </a:path>
              </a:pathLst>
            </a:custGeom>
            <a:solidFill>
              <a:srgbClr val="C2C4C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D01FDB4-5ABD-4820-9EFC-CECD1FDD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345"/>
              <a:ext cx="82" cy="2628"/>
            </a:xfrm>
            <a:custGeom>
              <a:avLst/>
              <a:gdLst/>
              <a:ahLst/>
              <a:cxnLst>
                <a:cxn ang="0">
                  <a:pos x="257" y="0"/>
                </a:cxn>
                <a:cxn ang="0">
                  <a:pos x="305" y="208"/>
                </a:cxn>
                <a:cxn ang="0">
                  <a:pos x="338" y="247"/>
                </a:cxn>
                <a:cxn ang="0">
                  <a:pos x="350" y="117"/>
                </a:cxn>
                <a:cxn ang="0">
                  <a:pos x="380" y="540"/>
                </a:cxn>
                <a:cxn ang="0">
                  <a:pos x="379" y="1974"/>
                </a:cxn>
                <a:cxn ang="0">
                  <a:pos x="394" y="2052"/>
                </a:cxn>
                <a:cxn ang="0">
                  <a:pos x="382" y="2106"/>
                </a:cxn>
                <a:cxn ang="0">
                  <a:pos x="424" y="2129"/>
                </a:cxn>
                <a:cxn ang="0">
                  <a:pos x="395" y="2258"/>
                </a:cxn>
                <a:cxn ang="0">
                  <a:pos x="395" y="2773"/>
                </a:cxn>
                <a:cxn ang="0">
                  <a:pos x="423" y="2894"/>
                </a:cxn>
                <a:cxn ang="0">
                  <a:pos x="396" y="2993"/>
                </a:cxn>
                <a:cxn ang="0">
                  <a:pos x="406" y="3018"/>
                </a:cxn>
                <a:cxn ang="0">
                  <a:pos x="409" y="3026"/>
                </a:cxn>
                <a:cxn ang="0">
                  <a:pos x="408" y="3032"/>
                </a:cxn>
                <a:cxn ang="0">
                  <a:pos x="395" y="3107"/>
                </a:cxn>
                <a:cxn ang="0">
                  <a:pos x="396" y="10874"/>
                </a:cxn>
                <a:cxn ang="0">
                  <a:pos x="382" y="11624"/>
                </a:cxn>
                <a:cxn ang="0">
                  <a:pos x="378" y="12346"/>
                </a:cxn>
                <a:cxn ang="0">
                  <a:pos x="343" y="12654"/>
                </a:cxn>
                <a:cxn ang="0">
                  <a:pos x="330" y="12808"/>
                </a:cxn>
                <a:cxn ang="0">
                  <a:pos x="90" y="13460"/>
                </a:cxn>
                <a:cxn ang="0">
                  <a:pos x="0" y="13526"/>
                </a:cxn>
                <a:cxn ang="0">
                  <a:pos x="238" y="13086"/>
                </a:cxn>
                <a:cxn ang="0">
                  <a:pos x="261" y="12963"/>
                </a:cxn>
                <a:cxn ang="0">
                  <a:pos x="277" y="12658"/>
                </a:cxn>
                <a:cxn ang="0">
                  <a:pos x="277" y="7375"/>
                </a:cxn>
                <a:cxn ang="0">
                  <a:pos x="273" y="6583"/>
                </a:cxn>
                <a:cxn ang="0">
                  <a:pos x="276" y="5957"/>
                </a:cxn>
                <a:cxn ang="0">
                  <a:pos x="277" y="341"/>
                </a:cxn>
                <a:cxn ang="0">
                  <a:pos x="265" y="179"/>
                </a:cxn>
                <a:cxn ang="0">
                  <a:pos x="257" y="0"/>
                </a:cxn>
              </a:cxnLst>
              <a:rect l="0" t="0" r="r" b="b"/>
              <a:pathLst>
                <a:path w="424" h="13526">
                  <a:moveTo>
                    <a:pt x="257" y="0"/>
                  </a:moveTo>
                  <a:cubicBezTo>
                    <a:pt x="289" y="65"/>
                    <a:pt x="295" y="137"/>
                    <a:pt x="305" y="208"/>
                  </a:cubicBezTo>
                  <a:cubicBezTo>
                    <a:pt x="307" y="227"/>
                    <a:pt x="318" y="240"/>
                    <a:pt x="338" y="247"/>
                  </a:cubicBezTo>
                  <a:cubicBezTo>
                    <a:pt x="342" y="204"/>
                    <a:pt x="347" y="160"/>
                    <a:pt x="350" y="117"/>
                  </a:cubicBezTo>
                  <a:cubicBezTo>
                    <a:pt x="384" y="256"/>
                    <a:pt x="377" y="399"/>
                    <a:pt x="380" y="540"/>
                  </a:cubicBezTo>
                  <a:cubicBezTo>
                    <a:pt x="379" y="1018"/>
                    <a:pt x="381" y="1496"/>
                    <a:pt x="379" y="1974"/>
                  </a:cubicBezTo>
                  <a:cubicBezTo>
                    <a:pt x="379" y="2001"/>
                    <a:pt x="383" y="2027"/>
                    <a:pt x="394" y="2052"/>
                  </a:cubicBezTo>
                  <a:cubicBezTo>
                    <a:pt x="391" y="2065"/>
                    <a:pt x="385" y="2093"/>
                    <a:pt x="382" y="2106"/>
                  </a:cubicBezTo>
                  <a:cubicBezTo>
                    <a:pt x="396" y="2114"/>
                    <a:pt x="410" y="2121"/>
                    <a:pt x="424" y="2129"/>
                  </a:cubicBezTo>
                  <a:cubicBezTo>
                    <a:pt x="411" y="2171"/>
                    <a:pt x="396" y="2213"/>
                    <a:pt x="395" y="2258"/>
                  </a:cubicBezTo>
                  <a:cubicBezTo>
                    <a:pt x="392" y="2429"/>
                    <a:pt x="393" y="2601"/>
                    <a:pt x="395" y="2773"/>
                  </a:cubicBezTo>
                  <a:cubicBezTo>
                    <a:pt x="395" y="2815"/>
                    <a:pt x="409" y="2855"/>
                    <a:pt x="423" y="2894"/>
                  </a:cubicBezTo>
                  <a:cubicBezTo>
                    <a:pt x="413" y="2927"/>
                    <a:pt x="403" y="2960"/>
                    <a:pt x="396" y="2993"/>
                  </a:cubicBezTo>
                  <a:cubicBezTo>
                    <a:pt x="399" y="2999"/>
                    <a:pt x="404" y="3012"/>
                    <a:pt x="406" y="3018"/>
                  </a:cubicBezTo>
                  <a:lnTo>
                    <a:pt x="409" y="3026"/>
                  </a:lnTo>
                  <a:cubicBezTo>
                    <a:pt x="409" y="3027"/>
                    <a:pt x="408" y="3031"/>
                    <a:pt x="408" y="3032"/>
                  </a:cubicBezTo>
                  <a:cubicBezTo>
                    <a:pt x="401" y="3057"/>
                    <a:pt x="395" y="3082"/>
                    <a:pt x="395" y="3107"/>
                  </a:cubicBezTo>
                  <a:cubicBezTo>
                    <a:pt x="397" y="5696"/>
                    <a:pt x="395" y="8285"/>
                    <a:pt x="396" y="10874"/>
                  </a:cubicBezTo>
                  <a:cubicBezTo>
                    <a:pt x="391" y="11124"/>
                    <a:pt x="405" y="11375"/>
                    <a:pt x="382" y="11624"/>
                  </a:cubicBezTo>
                  <a:cubicBezTo>
                    <a:pt x="380" y="11865"/>
                    <a:pt x="382" y="12106"/>
                    <a:pt x="378" y="12346"/>
                  </a:cubicBezTo>
                  <a:cubicBezTo>
                    <a:pt x="340" y="12445"/>
                    <a:pt x="357" y="12551"/>
                    <a:pt x="343" y="12654"/>
                  </a:cubicBezTo>
                  <a:cubicBezTo>
                    <a:pt x="336" y="12705"/>
                    <a:pt x="329" y="12756"/>
                    <a:pt x="330" y="12808"/>
                  </a:cubicBezTo>
                  <a:cubicBezTo>
                    <a:pt x="347" y="13046"/>
                    <a:pt x="249" y="13285"/>
                    <a:pt x="90" y="13460"/>
                  </a:cubicBezTo>
                  <a:cubicBezTo>
                    <a:pt x="64" y="13488"/>
                    <a:pt x="31" y="13506"/>
                    <a:pt x="0" y="13526"/>
                  </a:cubicBezTo>
                  <a:cubicBezTo>
                    <a:pt x="108" y="13398"/>
                    <a:pt x="235" y="13264"/>
                    <a:pt x="238" y="13086"/>
                  </a:cubicBezTo>
                  <a:cubicBezTo>
                    <a:pt x="247" y="13045"/>
                    <a:pt x="255" y="13004"/>
                    <a:pt x="261" y="12963"/>
                  </a:cubicBezTo>
                  <a:cubicBezTo>
                    <a:pt x="279" y="12862"/>
                    <a:pt x="279" y="12760"/>
                    <a:pt x="277" y="12658"/>
                  </a:cubicBezTo>
                  <a:cubicBezTo>
                    <a:pt x="277" y="10897"/>
                    <a:pt x="277" y="9136"/>
                    <a:pt x="277" y="7375"/>
                  </a:cubicBezTo>
                  <a:cubicBezTo>
                    <a:pt x="275" y="7111"/>
                    <a:pt x="282" y="6847"/>
                    <a:pt x="273" y="6583"/>
                  </a:cubicBezTo>
                  <a:cubicBezTo>
                    <a:pt x="280" y="6375"/>
                    <a:pt x="275" y="6166"/>
                    <a:pt x="276" y="5957"/>
                  </a:cubicBezTo>
                  <a:cubicBezTo>
                    <a:pt x="277" y="4085"/>
                    <a:pt x="276" y="2213"/>
                    <a:pt x="277" y="341"/>
                  </a:cubicBezTo>
                  <a:cubicBezTo>
                    <a:pt x="276" y="287"/>
                    <a:pt x="271" y="233"/>
                    <a:pt x="265" y="179"/>
                  </a:cubicBezTo>
                  <a:cubicBezTo>
                    <a:pt x="262" y="119"/>
                    <a:pt x="259" y="59"/>
                    <a:pt x="257" y="0"/>
                  </a:cubicBezTo>
                </a:path>
              </a:pathLst>
            </a:custGeom>
            <a:solidFill>
              <a:srgbClr val="C5C7C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99BA534-EDD3-408C-9F27-BA4A35476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5" y="350"/>
              <a:ext cx="43" cy="43"/>
            </a:xfrm>
            <a:custGeom>
              <a:avLst/>
              <a:gdLst/>
              <a:ahLst/>
              <a:cxnLst>
                <a:cxn ang="0">
                  <a:pos x="42" y="56"/>
                </a:cxn>
                <a:cxn ang="0">
                  <a:pos x="218" y="65"/>
                </a:cxn>
                <a:cxn ang="0">
                  <a:pos x="216" y="77"/>
                </a:cxn>
                <a:cxn ang="0">
                  <a:pos x="32" y="204"/>
                </a:cxn>
                <a:cxn ang="0">
                  <a:pos x="42" y="56"/>
                </a:cxn>
              </a:cxnLst>
              <a:rect l="0" t="0" r="r" b="b"/>
              <a:pathLst>
                <a:path w="221" h="221">
                  <a:moveTo>
                    <a:pt x="42" y="56"/>
                  </a:moveTo>
                  <a:cubicBezTo>
                    <a:pt x="88" y="0"/>
                    <a:pt x="173" y="18"/>
                    <a:pt x="218" y="65"/>
                  </a:cubicBezTo>
                  <a:lnTo>
                    <a:pt x="216" y="77"/>
                  </a:lnTo>
                  <a:cubicBezTo>
                    <a:pt x="221" y="174"/>
                    <a:pt x="115" y="221"/>
                    <a:pt x="32" y="204"/>
                  </a:cubicBezTo>
                  <a:cubicBezTo>
                    <a:pt x="9" y="157"/>
                    <a:pt x="0" y="95"/>
                    <a:pt x="42" y="56"/>
                  </a:cubicBezTo>
                </a:path>
              </a:pathLst>
            </a:custGeom>
            <a:solidFill>
              <a:srgbClr val="1A1C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A2FC243F-F515-47D3-B521-E829F08E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9" y="367"/>
              <a:ext cx="21" cy="21"/>
            </a:xfrm>
            <a:custGeom>
              <a:avLst/>
              <a:gdLst/>
              <a:ahLst/>
              <a:cxnLst>
                <a:cxn ang="0">
                  <a:pos x="25" y="4"/>
                </a:cxn>
                <a:cxn ang="0">
                  <a:pos x="77" y="1"/>
                </a:cxn>
                <a:cxn ang="0">
                  <a:pos x="27" y="57"/>
                </a:cxn>
                <a:cxn ang="0">
                  <a:pos x="110" y="58"/>
                </a:cxn>
                <a:cxn ang="0">
                  <a:pos x="47" y="104"/>
                </a:cxn>
                <a:cxn ang="0">
                  <a:pos x="0" y="62"/>
                </a:cxn>
                <a:cxn ang="0">
                  <a:pos x="25" y="4"/>
                </a:cxn>
              </a:cxnLst>
              <a:rect l="0" t="0" r="r" b="b"/>
              <a:pathLst>
                <a:path w="110" h="107">
                  <a:moveTo>
                    <a:pt x="25" y="4"/>
                  </a:moveTo>
                  <a:cubicBezTo>
                    <a:pt x="42" y="1"/>
                    <a:pt x="59" y="0"/>
                    <a:pt x="77" y="1"/>
                  </a:cubicBezTo>
                  <a:cubicBezTo>
                    <a:pt x="60" y="20"/>
                    <a:pt x="44" y="39"/>
                    <a:pt x="27" y="57"/>
                  </a:cubicBezTo>
                  <a:cubicBezTo>
                    <a:pt x="54" y="57"/>
                    <a:pt x="82" y="58"/>
                    <a:pt x="110" y="58"/>
                  </a:cubicBezTo>
                  <a:cubicBezTo>
                    <a:pt x="94" y="80"/>
                    <a:pt x="78" y="107"/>
                    <a:pt x="47" y="104"/>
                  </a:cubicBezTo>
                  <a:cubicBezTo>
                    <a:pt x="31" y="90"/>
                    <a:pt x="15" y="76"/>
                    <a:pt x="0" y="62"/>
                  </a:cubicBezTo>
                  <a:cubicBezTo>
                    <a:pt x="7" y="42"/>
                    <a:pt x="16" y="23"/>
                    <a:pt x="25" y="4"/>
                  </a:cubicBezTo>
                </a:path>
              </a:pathLst>
            </a:custGeom>
            <a:solidFill>
              <a:srgbClr val="1A33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FE54932D-A8E9-4C08-938F-4E9A6B7BB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65"/>
              <a:ext cx="46" cy="33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87" y="164"/>
                </a:cxn>
                <a:cxn ang="0">
                  <a:pos x="0" y="127"/>
                </a:cxn>
                <a:cxn ang="0">
                  <a:pos x="184" y="0"/>
                </a:cxn>
              </a:cxnLst>
              <a:rect l="0" t="0" r="r" b="b"/>
              <a:pathLst>
                <a:path w="235" h="171">
                  <a:moveTo>
                    <a:pt x="184" y="0"/>
                  </a:moveTo>
                  <a:cubicBezTo>
                    <a:pt x="235" y="67"/>
                    <a:pt x="167" y="171"/>
                    <a:pt x="87" y="164"/>
                  </a:cubicBezTo>
                  <a:cubicBezTo>
                    <a:pt x="53" y="167"/>
                    <a:pt x="27" y="144"/>
                    <a:pt x="0" y="127"/>
                  </a:cubicBezTo>
                  <a:cubicBezTo>
                    <a:pt x="83" y="144"/>
                    <a:pt x="189" y="97"/>
                    <a:pt x="184" y="0"/>
                  </a:cubicBezTo>
                </a:path>
              </a:pathLst>
            </a:custGeom>
            <a:solidFill>
              <a:srgbClr val="56555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72743FC3-1298-4AA4-9E64-5E2CDA3F4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2" y="371"/>
              <a:ext cx="183" cy="13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6" y="4"/>
                </a:cxn>
                <a:cxn ang="0">
                  <a:pos x="935" y="3"/>
                </a:cxn>
                <a:cxn ang="0">
                  <a:pos x="943" y="51"/>
                </a:cxn>
                <a:cxn ang="0">
                  <a:pos x="746" y="56"/>
                </a:cxn>
                <a:cxn ang="0">
                  <a:pos x="0" y="52"/>
                </a:cxn>
              </a:cxnLst>
              <a:rect l="0" t="0" r="r" b="b"/>
              <a:pathLst>
                <a:path w="943" h="71">
                  <a:moveTo>
                    <a:pt x="0" y="52"/>
                  </a:moveTo>
                  <a:cubicBezTo>
                    <a:pt x="2" y="36"/>
                    <a:pt x="4" y="20"/>
                    <a:pt x="6" y="4"/>
                  </a:cubicBezTo>
                  <a:cubicBezTo>
                    <a:pt x="316" y="5"/>
                    <a:pt x="625" y="0"/>
                    <a:pt x="935" y="3"/>
                  </a:cubicBezTo>
                  <a:cubicBezTo>
                    <a:pt x="938" y="19"/>
                    <a:pt x="940" y="35"/>
                    <a:pt x="943" y="51"/>
                  </a:cubicBezTo>
                  <a:cubicBezTo>
                    <a:pt x="879" y="71"/>
                    <a:pt x="812" y="53"/>
                    <a:pt x="746" y="56"/>
                  </a:cubicBezTo>
                  <a:cubicBezTo>
                    <a:pt x="498" y="54"/>
                    <a:pt x="248" y="62"/>
                    <a:pt x="0" y="52"/>
                  </a:cubicBezTo>
                  <a:close/>
                </a:path>
              </a:pathLst>
            </a:custGeom>
            <a:solidFill>
              <a:srgbClr val="2C2C2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28FAB452-99D9-471A-A2CD-4AE65D252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432"/>
              <a:ext cx="9" cy="2227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40" y="0"/>
                </a:cxn>
                <a:cxn ang="0">
                  <a:pos x="42" y="2794"/>
                </a:cxn>
                <a:cxn ang="0">
                  <a:pos x="42" y="10361"/>
                </a:cxn>
                <a:cxn ang="0">
                  <a:pos x="36" y="11053"/>
                </a:cxn>
                <a:cxn ang="0">
                  <a:pos x="22" y="11461"/>
                </a:cxn>
                <a:cxn ang="0">
                  <a:pos x="7" y="11000"/>
                </a:cxn>
                <a:cxn ang="0">
                  <a:pos x="4" y="8894"/>
                </a:cxn>
                <a:cxn ang="0">
                  <a:pos x="5" y="3"/>
                </a:cxn>
              </a:cxnLst>
              <a:rect l="0" t="0" r="r" b="b"/>
              <a:pathLst>
                <a:path w="45" h="11461">
                  <a:moveTo>
                    <a:pt x="5" y="3"/>
                  </a:moveTo>
                  <a:cubicBezTo>
                    <a:pt x="14" y="2"/>
                    <a:pt x="31" y="0"/>
                    <a:pt x="40" y="0"/>
                  </a:cubicBezTo>
                  <a:cubicBezTo>
                    <a:pt x="45" y="931"/>
                    <a:pt x="40" y="1862"/>
                    <a:pt x="42" y="2794"/>
                  </a:cubicBezTo>
                  <a:cubicBezTo>
                    <a:pt x="42" y="5316"/>
                    <a:pt x="42" y="7839"/>
                    <a:pt x="42" y="10361"/>
                  </a:cubicBezTo>
                  <a:cubicBezTo>
                    <a:pt x="40" y="10592"/>
                    <a:pt x="42" y="10823"/>
                    <a:pt x="36" y="11053"/>
                  </a:cubicBezTo>
                  <a:cubicBezTo>
                    <a:pt x="21" y="11189"/>
                    <a:pt x="31" y="11325"/>
                    <a:pt x="22" y="11461"/>
                  </a:cubicBezTo>
                  <a:cubicBezTo>
                    <a:pt x="13" y="11307"/>
                    <a:pt x="22" y="11153"/>
                    <a:pt x="7" y="11000"/>
                  </a:cubicBezTo>
                  <a:cubicBezTo>
                    <a:pt x="0" y="10298"/>
                    <a:pt x="6" y="9596"/>
                    <a:pt x="4" y="8894"/>
                  </a:cubicBezTo>
                  <a:cubicBezTo>
                    <a:pt x="5" y="5930"/>
                    <a:pt x="2" y="2966"/>
                    <a:pt x="5" y="3"/>
                  </a:cubicBezTo>
                  <a:close/>
                </a:path>
              </a:pathLst>
            </a:custGeom>
            <a:solidFill>
              <a:srgbClr val="E0E2E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6F58995D-CB13-4B74-8AED-B4FED5A02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" y="513"/>
              <a:ext cx="1230" cy="6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74" y="7"/>
                </a:cxn>
                <a:cxn ang="0">
                  <a:pos x="6089" y="8"/>
                </a:cxn>
                <a:cxn ang="0">
                  <a:pos x="6334" y="19"/>
                </a:cxn>
                <a:cxn ang="0">
                  <a:pos x="6240" y="30"/>
                </a:cxn>
                <a:cxn ang="0">
                  <a:pos x="224" y="30"/>
                </a:cxn>
                <a:cxn ang="0">
                  <a:pos x="0" y="24"/>
                </a:cxn>
              </a:cxnLst>
              <a:rect l="0" t="0" r="r" b="b"/>
              <a:pathLst>
                <a:path w="6334" h="31">
                  <a:moveTo>
                    <a:pt x="0" y="24"/>
                  </a:moveTo>
                  <a:cubicBezTo>
                    <a:pt x="24" y="16"/>
                    <a:pt x="48" y="7"/>
                    <a:pt x="74" y="7"/>
                  </a:cubicBezTo>
                  <a:cubicBezTo>
                    <a:pt x="2079" y="8"/>
                    <a:pt x="4084" y="7"/>
                    <a:pt x="6089" y="8"/>
                  </a:cubicBezTo>
                  <a:cubicBezTo>
                    <a:pt x="6171" y="9"/>
                    <a:pt x="6253" y="0"/>
                    <a:pt x="6334" y="19"/>
                  </a:cubicBezTo>
                  <a:cubicBezTo>
                    <a:pt x="6302" y="25"/>
                    <a:pt x="6272" y="30"/>
                    <a:pt x="6240" y="30"/>
                  </a:cubicBezTo>
                  <a:cubicBezTo>
                    <a:pt x="4235" y="29"/>
                    <a:pt x="2229" y="30"/>
                    <a:pt x="224" y="30"/>
                  </a:cubicBezTo>
                  <a:cubicBezTo>
                    <a:pt x="149" y="31"/>
                    <a:pt x="74" y="31"/>
                    <a:pt x="0" y="24"/>
                  </a:cubicBezTo>
                </a:path>
              </a:pathLst>
            </a:custGeom>
            <a:solidFill>
              <a:srgbClr val="ACACA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186EC8B3-7581-4F4B-AB2D-4F9AED33D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526"/>
              <a:ext cx="6" cy="218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2" y="244"/>
                </a:cxn>
                <a:cxn ang="0">
                  <a:pos x="23" y="4356"/>
                </a:cxn>
                <a:cxn ang="0">
                  <a:pos x="23" y="9707"/>
                </a:cxn>
                <a:cxn ang="0">
                  <a:pos x="20" y="11235"/>
                </a:cxn>
                <a:cxn ang="0">
                  <a:pos x="1" y="11209"/>
                </a:cxn>
                <a:cxn ang="0">
                  <a:pos x="0" y="93"/>
                </a:cxn>
                <a:cxn ang="0">
                  <a:pos x="11" y="0"/>
                </a:cxn>
              </a:cxnLst>
              <a:rect l="0" t="0" r="r" b="b"/>
              <a:pathLst>
                <a:path w="31" h="11235">
                  <a:moveTo>
                    <a:pt x="11" y="0"/>
                  </a:moveTo>
                  <a:cubicBezTo>
                    <a:pt x="31" y="80"/>
                    <a:pt x="20" y="162"/>
                    <a:pt x="22" y="244"/>
                  </a:cubicBezTo>
                  <a:cubicBezTo>
                    <a:pt x="22" y="1614"/>
                    <a:pt x="24" y="2985"/>
                    <a:pt x="23" y="4356"/>
                  </a:cubicBezTo>
                  <a:cubicBezTo>
                    <a:pt x="22" y="6140"/>
                    <a:pt x="23" y="7923"/>
                    <a:pt x="23" y="9707"/>
                  </a:cubicBezTo>
                  <a:cubicBezTo>
                    <a:pt x="21" y="10216"/>
                    <a:pt x="25" y="10726"/>
                    <a:pt x="20" y="11235"/>
                  </a:cubicBezTo>
                  <a:lnTo>
                    <a:pt x="1" y="11209"/>
                  </a:lnTo>
                  <a:cubicBezTo>
                    <a:pt x="0" y="7503"/>
                    <a:pt x="2" y="3798"/>
                    <a:pt x="0" y="93"/>
                  </a:cubicBezTo>
                  <a:cubicBezTo>
                    <a:pt x="1" y="61"/>
                    <a:pt x="6" y="30"/>
                    <a:pt x="11" y="0"/>
                  </a:cubicBezTo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C7D076BF-267F-45D8-9ED5-E8892C2D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537"/>
              <a:ext cx="12" cy="210"/>
            </a:xfrm>
            <a:custGeom>
              <a:avLst/>
              <a:gdLst/>
              <a:ahLst/>
              <a:cxnLst>
                <a:cxn ang="0">
                  <a:pos x="2" y="35"/>
                </a:cxn>
                <a:cxn ang="0">
                  <a:pos x="33" y="0"/>
                </a:cxn>
                <a:cxn ang="0">
                  <a:pos x="20" y="49"/>
                </a:cxn>
                <a:cxn ang="0">
                  <a:pos x="30" y="428"/>
                </a:cxn>
                <a:cxn ang="0">
                  <a:pos x="35" y="496"/>
                </a:cxn>
                <a:cxn ang="0">
                  <a:pos x="49" y="1074"/>
                </a:cxn>
                <a:cxn ang="0">
                  <a:pos x="38" y="1081"/>
                </a:cxn>
                <a:cxn ang="0">
                  <a:pos x="36" y="533"/>
                </a:cxn>
                <a:cxn ang="0">
                  <a:pos x="0" y="486"/>
                </a:cxn>
                <a:cxn ang="0">
                  <a:pos x="2" y="35"/>
                </a:cxn>
              </a:cxnLst>
              <a:rect l="0" t="0" r="r" b="b"/>
              <a:pathLst>
                <a:path w="59" h="1081">
                  <a:moveTo>
                    <a:pt x="2" y="35"/>
                  </a:moveTo>
                  <a:cubicBezTo>
                    <a:pt x="12" y="23"/>
                    <a:pt x="22" y="12"/>
                    <a:pt x="33" y="0"/>
                  </a:cubicBezTo>
                  <a:cubicBezTo>
                    <a:pt x="29" y="17"/>
                    <a:pt x="25" y="33"/>
                    <a:pt x="20" y="49"/>
                  </a:cubicBezTo>
                  <a:cubicBezTo>
                    <a:pt x="42" y="174"/>
                    <a:pt x="33" y="302"/>
                    <a:pt x="30" y="428"/>
                  </a:cubicBezTo>
                  <a:cubicBezTo>
                    <a:pt x="13" y="449"/>
                    <a:pt x="12" y="480"/>
                    <a:pt x="35" y="496"/>
                  </a:cubicBezTo>
                  <a:cubicBezTo>
                    <a:pt x="59" y="687"/>
                    <a:pt x="35" y="881"/>
                    <a:pt x="49" y="1074"/>
                  </a:cubicBezTo>
                  <a:cubicBezTo>
                    <a:pt x="46" y="1075"/>
                    <a:pt x="41" y="1079"/>
                    <a:pt x="38" y="1081"/>
                  </a:cubicBezTo>
                  <a:cubicBezTo>
                    <a:pt x="32" y="899"/>
                    <a:pt x="37" y="716"/>
                    <a:pt x="36" y="533"/>
                  </a:cubicBezTo>
                  <a:cubicBezTo>
                    <a:pt x="24" y="518"/>
                    <a:pt x="12" y="502"/>
                    <a:pt x="0" y="486"/>
                  </a:cubicBezTo>
                  <a:cubicBezTo>
                    <a:pt x="9" y="336"/>
                    <a:pt x="7" y="185"/>
                    <a:pt x="2" y="35"/>
                  </a:cubicBezTo>
                  <a:close/>
                </a:path>
              </a:pathLst>
            </a:custGeom>
            <a:solidFill>
              <a:srgbClr val="D1D2D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E388F6E5-1EF4-4890-8323-3DBA764A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" y="620"/>
              <a:ext cx="9" cy="13"/>
            </a:xfrm>
            <a:custGeom>
              <a:avLst/>
              <a:gdLst/>
              <a:ahLst/>
              <a:cxnLst>
                <a:cxn ang="0">
                  <a:pos x="23" y="68"/>
                </a:cxn>
                <a:cxn ang="0">
                  <a:pos x="18" y="0"/>
                </a:cxn>
                <a:cxn ang="0">
                  <a:pos x="23" y="68"/>
                </a:cxn>
              </a:cxnLst>
              <a:rect l="0" t="0" r="r" b="b"/>
              <a:pathLst>
                <a:path w="51" h="68">
                  <a:moveTo>
                    <a:pt x="23" y="68"/>
                  </a:moveTo>
                  <a:cubicBezTo>
                    <a:pt x="0" y="52"/>
                    <a:pt x="1" y="21"/>
                    <a:pt x="18" y="0"/>
                  </a:cubicBezTo>
                  <a:cubicBezTo>
                    <a:pt x="46" y="10"/>
                    <a:pt x="51" y="55"/>
                    <a:pt x="23" y="68"/>
                  </a:cubicBezTo>
                  <a:close/>
                </a:path>
              </a:pathLst>
            </a:custGeom>
            <a:solidFill>
              <a:srgbClr val="7F818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ABC6A9BA-9348-4DAE-AE37-EADBF29C2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744"/>
              <a:ext cx="10" cy="15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42" y="77"/>
                </a:cxn>
                <a:cxn ang="0">
                  <a:pos x="0" y="54"/>
                </a:cxn>
                <a:cxn ang="0">
                  <a:pos x="12" y="0"/>
                </a:cxn>
              </a:cxnLst>
              <a:rect l="0" t="0" r="r" b="b"/>
              <a:pathLst>
                <a:path w="53" h="77">
                  <a:moveTo>
                    <a:pt x="12" y="0"/>
                  </a:moveTo>
                  <a:cubicBezTo>
                    <a:pt x="37" y="16"/>
                    <a:pt x="53" y="47"/>
                    <a:pt x="42" y="77"/>
                  </a:cubicBezTo>
                  <a:cubicBezTo>
                    <a:pt x="28" y="69"/>
                    <a:pt x="14" y="62"/>
                    <a:pt x="0" y="54"/>
                  </a:cubicBezTo>
                  <a:cubicBezTo>
                    <a:pt x="3" y="41"/>
                    <a:pt x="9" y="13"/>
                    <a:pt x="12" y="0"/>
                  </a:cubicBezTo>
                </a:path>
              </a:pathLst>
            </a:custGeom>
            <a:solidFill>
              <a:srgbClr val="8F919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B147C7A-1418-491A-BCBE-6DA2B0D76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1" y="747"/>
              <a:ext cx="9" cy="15"/>
            </a:xfrm>
            <a:custGeom>
              <a:avLst/>
              <a:gdLst/>
              <a:ahLst/>
              <a:cxnLst>
                <a:cxn ang="0">
                  <a:pos x="48" y="49"/>
                </a:cxn>
                <a:cxn ang="0">
                  <a:pos x="47" y="21"/>
                </a:cxn>
                <a:cxn ang="0">
                  <a:pos x="48" y="49"/>
                </a:cxn>
              </a:cxnLst>
              <a:rect l="0" t="0" r="r" b="b"/>
              <a:pathLst>
                <a:path w="48" h="75">
                  <a:moveTo>
                    <a:pt x="48" y="49"/>
                  </a:moveTo>
                  <a:cubicBezTo>
                    <a:pt x="2" y="75"/>
                    <a:pt x="0" y="0"/>
                    <a:pt x="47" y="21"/>
                  </a:cubicBezTo>
                  <a:cubicBezTo>
                    <a:pt x="47" y="28"/>
                    <a:pt x="48" y="42"/>
                    <a:pt x="48" y="49"/>
                  </a:cubicBezTo>
                  <a:close/>
                </a:path>
              </a:pathLst>
            </a:custGeom>
            <a:solidFill>
              <a:srgbClr val="797B7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74F33F6E-5500-4B51-818A-90B7D5228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4" y="761"/>
              <a:ext cx="11" cy="143"/>
            </a:xfrm>
            <a:custGeom>
              <a:avLst/>
              <a:gdLst/>
              <a:ahLst/>
              <a:cxnLst>
                <a:cxn ang="0">
                  <a:pos x="14" y="214"/>
                </a:cxn>
                <a:cxn ang="0">
                  <a:pos x="46" y="0"/>
                </a:cxn>
                <a:cxn ang="0">
                  <a:pos x="59" y="98"/>
                </a:cxn>
                <a:cxn ang="0">
                  <a:pos x="60" y="615"/>
                </a:cxn>
                <a:cxn ang="0">
                  <a:pos x="50" y="735"/>
                </a:cxn>
                <a:cxn ang="0">
                  <a:pos x="13" y="665"/>
                </a:cxn>
                <a:cxn ang="0">
                  <a:pos x="14" y="214"/>
                </a:cxn>
              </a:cxnLst>
              <a:rect l="0" t="0" r="r" b="b"/>
              <a:pathLst>
                <a:path w="60" h="735">
                  <a:moveTo>
                    <a:pt x="14" y="214"/>
                  </a:moveTo>
                  <a:cubicBezTo>
                    <a:pt x="14" y="142"/>
                    <a:pt x="0" y="63"/>
                    <a:pt x="46" y="0"/>
                  </a:cubicBezTo>
                  <a:cubicBezTo>
                    <a:pt x="53" y="32"/>
                    <a:pt x="60" y="65"/>
                    <a:pt x="59" y="98"/>
                  </a:cubicBezTo>
                  <a:cubicBezTo>
                    <a:pt x="60" y="270"/>
                    <a:pt x="57" y="442"/>
                    <a:pt x="60" y="615"/>
                  </a:cubicBezTo>
                  <a:cubicBezTo>
                    <a:pt x="60" y="655"/>
                    <a:pt x="56" y="695"/>
                    <a:pt x="50" y="735"/>
                  </a:cubicBezTo>
                  <a:cubicBezTo>
                    <a:pt x="24" y="720"/>
                    <a:pt x="9" y="695"/>
                    <a:pt x="13" y="665"/>
                  </a:cubicBezTo>
                  <a:cubicBezTo>
                    <a:pt x="12" y="515"/>
                    <a:pt x="18" y="364"/>
                    <a:pt x="14" y="214"/>
                  </a:cubicBezTo>
                </a:path>
              </a:pathLst>
            </a:custGeom>
            <a:solidFill>
              <a:srgbClr val="ECECE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5CDC9338-A5DB-434A-8C7B-509F80EBE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" y="907"/>
              <a:ext cx="9" cy="24"/>
            </a:xfrm>
            <a:custGeom>
              <a:avLst/>
              <a:gdLst/>
              <a:ahLst/>
              <a:cxnLst>
                <a:cxn ang="0">
                  <a:pos x="0" y="99"/>
                </a:cxn>
                <a:cxn ang="0">
                  <a:pos x="27" y="0"/>
                </a:cxn>
                <a:cxn ang="0">
                  <a:pos x="43" y="46"/>
                </a:cxn>
                <a:cxn ang="0">
                  <a:pos x="10" y="124"/>
                </a:cxn>
                <a:cxn ang="0">
                  <a:pos x="0" y="99"/>
                </a:cxn>
              </a:cxnLst>
              <a:rect l="0" t="0" r="r" b="b"/>
              <a:pathLst>
                <a:path w="43" h="124">
                  <a:moveTo>
                    <a:pt x="0" y="99"/>
                  </a:moveTo>
                  <a:cubicBezTo>
                    <a:pt x="7" y="66"/>
                    <a:pt x="17" y="33"/>
                    <a:pt x="27" y="0"/>
                  </a:cubicBezTo>
                  <a:lnTo>
                    <a:pt x="43" y="46"/>
                  </a:lnTo>
                  <a:cubicBezTo>
                    <a:pt x="21" y="67"/>
                    <a:pt x="8" y="93"/>
                    <a:pt x="10" y="124"/>
                  </a:cubicBezTo>
                  <a:cubicBezTo>
                    <a:pt x="8" y="118"/>
                    <a:pt x="3" y="105"/>
                    <a:pt x="0" y="99"/>
                  </a:cubicBezTo>
                </a:path>
              </a:pathLst>
            </a:custGeom>
            <a:solidFill>
              <a:srgbClr val="6363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FB1D6102-5465-4A9F-A95E-B29782B81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" y="921"/>
              <a:ext cx="12" cy="1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7" y="17"/>
                </a:cxn>
                <a:cxn ang="0">
                  <a:pos x="0" y="23"/>
                </a:cxn>
                <a:cxn ang="0">
                  <a:pos x="7" y="0"/>
                </a:cxn>
              </a:cxnLst>
              <a:rect l="0" t="0" r="r" b="b"/>
              <a:pathLst>
                <a:path w="60" h="55">
                  <a:moveTo>
                    <a:pt x="7" y="0"/>
                  </a:moveTo>
                  <a:cubicBezTo>
                    <a:pt x="25" y="1"/>
                    <a:pt x="42" y="6"/>
                    <a:pt x="57" y="17"/>
                  </a:cubicBezTo>
                  <a:cubicBezTo>
                    <a:pt x="60" y="55"/>
                    <a:pt x="15" y="42"/>
                    <a:pt x="0" y="23"/>
                  </a:cubicBezTo>
                  <a:cubicBezTo>
                    <a:pt x="2" y="17"/>
                    <a:pt x="5" y="6"/>
                    <a:pt x="7" y="0"/>
                  </a:cubicBezTo>
                  <a:close/>
                </a:path>
              </a:pathLst>
            </a:custGeom>
            <a:solidFill>
              <a:srgbClr val="71737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BBEE0E7A-F8A0-4461-B729-3B4A17FEC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" y="934"/>
              <a:ext cx="632" cy="2102"/>
            </a:xfrm>
            <a:custGeom>
              <a:avLst/>
              <a:gdLst/>
              <a:ahLst/>
              <a:cxnLst>
                <a:cxn ang="0">
                  <a:pos x="3228" y="75"/>
                </a:cxn>
                <a:cxn ang="0">
                  <a:pos x="3241" y="0"/>
                </a:cxn>
                <a:cxn ang="0">
                  <a:pos x="3244" y="776"/>
                </a:cxn>
                <a:cxn ang="0">
                  <a:pos x="3245" y="9775"/>
                </a:cxn>
                <a:cxn ang="0">
                  <a:pos x="2947" y="10536"/>
                </a:cxn>
                <a:cxn ang="0">
                  <a:pos x="2204" y="10818"/>
                </a:cxn>
                <a:cxn ang="0">
                  <a:pos x="44" y="10817"/>
                </a:cxn>
                <a:cxn ang="0">
                  <a:pos x="0" y="10778"/>
                </a:cxn>
                <a:cxn ang="0">
                  <a:pos x="338" y="10768"/>
                </a:cxn>
                <a:cxn ang="0">
                  <a:pos x="2088" y="10768"/>
                </a:cxn>
                <a:cxn ang="0">
                  <a:pos x="2431" y="10749"/>
                </a:cxn>
                <a:cxn ang="0">
                  <a:pos x="2906" y="10509"/>
                </a:cxn>
                <a:cxn ang="0">
                  <a:pos x="3203" y="9883"/>
                </a:cxn>
                <a:cxn ang="0">
                  <a:pos x="3225" y="9658"/>
                </a:cxn>
                <a:cxn ang="0">
                  <a:pos x="3211" y="9314"/>
                </a:cxn>
                <a:cxn ang="0">
                  <a:pos x="3215" y="8592"/>
                </a:cxn>
                <a:cxn ang="0">
                  <a:pos x="3229" y="7842"/>
                </a:cxn>
                <a:cxn ang="0">
                  <a:pos x="3228" y="75"/>
                </a:cxn>
              </a:cxnLst>
              <a:rect l="0" t="0" r="r" b="b"/>
              <a:pathLst>
                <a:path w="3250" h="10818">
                  <a:moveTo>
                    <a:pt x="3228" y="75"/>
                  </a:moveTo>
                  <a:cubicBezTo>
                    <a:pt x="3228" y="50"/>
                    <a:pt x="3234" y="25"/>
                    <a:pt x="3241" y="0"/>
                  </a:cubicBezTo>
                  <a:cubicBezTo>
                    <a:pt x="3250" y="259"/>
                    <a:pt x="3242" y="518"/>
                    <a:pt x="3244" y="776"/>
                  </a:cubicBezTo>
                  <a:cubicBezTo>
                    <a:pt x="3245" y="3776"/>
                    <a:pt x="3244" y="6776"/>
                    <a:pt x="3245" y="9775"/>
                  </a:cubicBezTo>
                  <a:cubicBezTo>
                    <a:pt x="3244" y="10053"/>
                    <a:pt x="3151" y="10341"/>
                    <a:pt x="2947" y="10536"/>
                  </a:cubicBezTo>
                  <a:cubicBezTo>
                    <a:pt x="2753" y="10730"/>
                    <a:pt x="2474" y="10817"/>
                    <a:pt x="2204" y="10818"/>
                  </a:cubicBezTo>
                  <a:cubicBezTo>
                    <a:pt x="1484" y="10818"/>
                    <a:pt x="764" y="10818"/>
                    <a:pt x="44" y="10817"/>
                  </a:cubicBezTo>
                  <a:cubicBezTo>
                    <a:pt x="29" y="10804"/>
                    <a:pt x="14" y="10791"/>
                    <a:pt x="0" y="10778"/>
                  </a:cubicBezTo>
                  <a:cubicBezTo>
                    <a:pt x="112" y="10762"/>
                    <a:pt x="225" y="10769"/>
                    <a:pt x="338" y="10768"/>
                  </a:cubicBezTo>
                  <a:cubicBezTo>
                    <a:pt x="921" y="10768"/>
                    <a:pt x="1505" y="10768"/>
                    <a:pt x="2088" y="10768"/>
                  </a:cubicBezTo>
                  <a:cubicBezTo>
                    <a:pt x="2202" y="10767"/>
                    <a:pt x="2318" y="10775"/>
                    <a:pt x="2431" y="10749"/>
                  </a:cubicBezTo>
                  <a:cubicBezTo>
                    <a:pt x="2605" y="10711"/>
                    <a:pt x="2783" y="10643"/>
                    <a:pt x="2906" y="10509"/>
                  </a:cubicBezTo>
                  <a:cubicBezTo>
                    <a:pt x="3077" y="10347"/>
                    <a:pt x="3184" y="10118"/>
                    <a:pt x="3203" y="9883"/>
                  </a:cubicBezTo>
                  <a:cubicBezTo>
                    <a:pt x="3212" y="9808"/>
                    <a:pt x="3236" y="9734"/>
                    <a:pt x="3225" y="9658"/>
                  </a:cubicBezTo>
                  <a:cubicBezTo>
                    <a:pt x="3207" y="9544"/>
                    <a:pt x="3222" y="9429"/>
                    <a:pt x="3211" y="9314"/>
                  </a:cubicBezTo>
                  <a:cubicBezTo>
                    <a:pt x="3215" y="9074"/>
                    <a:pt x="3213" y="8833"/>
                    <a:pt x="3215" y="8592"/>
                  </a:cubicBezTo>
                  <a:cubicBezTo>
                    <a:pt x="3238" y="8343"/>
                    <a:pt x="3224" y="8092"/>
                    <a:pt x="3229" y="7842"/>
                  </a:cubicBezTo>
                  <a:cubicBezTo>
                    <a:pt x="3228" y="5253"/>
                    <a:pt x="3230" y="2664"/>
                    <a:pt x="3228" y="75"/>
                  </a:cubicBezTo>
                </a:path>
              </a:pathLst>
            </a:custGeom>
            <a:solidFill>
              <a:srgbClr val="8586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E07EA013-E964-4C01-A430-5296CBA1A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973"/>
              <a:ext cx="14" cy="18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73" y="0"/>
                </a:cxn>
                <a:cxn ang="0">
                  <a:pos x="59" y="106"/>
                </a:cxn>
                <a:cxn ang="0">
                  <a:pos x="58" y="939"/>
                </a:cxn>
                <a:cxn ang="0">
                  <a:pos x="14" y="928"/>
                </a:cxn>
                <a:cxn ang="0">
                  <a:pos x="2" y="866"/>
                </a:cxn>
                <a:cxn ang="0">
                  <a:pos x="47" y="865"/>
                </a:cxn>
                <a:cxn ang="0">
                  <a:pos x="46" y="68"/>
                </a:cxn>
                <a:cxn ang="0">
                  <a:pos x="0" y="21"/>
                </a:cxn>
              </a:cxnLst>
              <a:rect l="0" t="0" r="r" b="b"/>
              <a:pathLst>
                <a:path w="73" h="939">
                  <a:moveTo>
                    <a:pt x="0" y="21"/>
                  </a:moveTo>
                  <a:cubicBezTo>
                    <a:pt x="24" y="15"/>
                    <a:pt x="49" y="8"/>
                    <a:pt x="73" y="0"/>
                  </a:cubicBezTo>
                  <a:cubicBezTo>
                    <a:pt x="67" y="35"/>
                    <a:pt x="61" y="71"/>
                    <a:pt x="59" y="106"/>
                  </a:cubicBezTo>
                  <a:cubicBezTo>
                    <a:pt x="58" y="384"/>
                    <a:pt x="63" y="662"/>
                    <a:pt x="58" y="939"/>
                  </a:cubicBezTo>
                  <a:cubicBezTo>
                    <a:pt x="47" y="937"/>
                    <a:pt x="25" y="931"/>
                    <a:pt x="14" y="928"/>
                  </a:cubicBezTo>
                  <a:cubicBezTo>
                    <a:pt x="10" y="907"/>
                    <a:pt x="6" y="887"/>
                    <a:pt x="2" y="866"/>
                  </a:cubicBezTo>
                  <a:cubicBezTo>
                    <a:pt x="17" y="866"/>
                    <a:pt x="32" y="865"/>
                    <a:pt x="47" y="865"/>
                  </a:cubicBezTo>
                  <a:cubicBezTo>
                    <a:pt x="44" y="599"/>
                    <a:pt x="46" y="333"/>
                    <a:pt x="46" y="68"/>
                  </a:cubicBezTo>
                  <a:cubicBezTo>
                    <a:pt x="31" y="52"/>
                    <a:pt x="15" y="37"/>
                    <a:pt x="0" y="21"/>
                  </a:cubicBezTo>
                </a:path>
              </a:pathLst>
            </a:custGeom>
            <a:solidFill>
              <a:srgbClr val="7A7C7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5C8A40E7-E582-4CEE-8401-C783673C0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977"/>
              <a:ext cx="9" cy="165"/>
            </a:xfrm>
            <a:custGeom>
              <a:avLst/>
              <a:gdLst/>
              <a:ahLst/>
              <a:cxnLst>
                <a:cxn ang="0">
                  <a:pos x="9" y="519"/>
                </a:cxn>
                <a:cxn ang="0">
                  <a:pos x="0" y="0"/>
                </a:cxn>
                <a:cxn ang="0">
                  <a:pos x="46" y="47"/>
                </a:cxn>
                <a:cxn ang="0">
                  <a:pos x="47" y="844"/>
                </a:cxn>
                <a:cxn ang="0">
                  <a:pos x="2" y="845"/>
                </a:cxn>
                <a:cxn ang="0">
                  <a:pos x="9" y="519"/>
                </a:cxn>
              </a:cxnLst>
              <a:rect l="0" t="0" r="r" b="b"/>
              <a:pathLst>
                <a:path w="47" h="845">
                  <a:moveTo>
                    <a:pt x="9" y="519"/>
                  </a:moveTo>
                  <a:cubicBezTo>
                    <a:pt x="7" y="346"/>
                    <a:pt x="14" y="173"/>
                    <a:pt x="0" y="0"/>
                  </a:cubicBezTo>
                  <a:cubicBezTo>
                    <a:pt x="15" y="16"/>
                    <a:pt x="31" y="31"/>
                    <a:pt x="46" y="47"/>
                  </a:cubicBezTo>
                  <a:cubicBezTo>
                    <a:pt x="46" y="312"/>
                    <a:pt x="44" y="578"/>
                    <a:pt x="47" y="844"/>
                  </a:cubicBezTo>
                  <a:cubicBezTo>
                    <a:pt x="32" y="844"/>
                    <a:pt x="17" y="845"/>
                    <a:pt x="2" y="845"/>
                  </a:cubicBezTo>
                  <a:cubicBezTo>
                    <a:pt x="13" y="737"/>
                    <a:pt x="8" y="628"/>
                    <a:pt x="9" y="519"/>
                  </a:cubicBezTo>
                </a:path>
              </a:pathLst>
            </a:custGeom>
            <a:solidFill>
              <a:srgbClr val="D4D5D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22F2E22-6B87-4AF1-875A-7C2C87691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" y="1165"/>
              <a:ext cx="214" cy="1873"/>
            </a:xfrm>
            <a:custGeom>
              <a:avLst/>
              <a:gdLst/>
              <a:ahLst/>
              <a:cxnLst>
                <a:cxn ang="0">
                  <a:pos x="17" y="1056"/>
                </a:cxn>
                <a:cxn ang="0">
                  <a:pos x="21" y="0"/>
                </a:cxn>
                <a:cxn ang="0">
                  <a:pos x="25" y="1290"/>
                </a:cxn>
                <a:cxn ang="0">
                  <a:pos x="25" y="6640"/>
                </a:cxn>
                <a:cxn ang="0">
                  <a:pos x="35" y="7566"/>
                </a:cxn>
                <a:cxn ang="0">
                  <a:pos x="21" y="7906"/>
                </a:cxn>
                <a:cxn ang="0">
                  <a:pos x="33" y="8256"/>
                </a:cxn>
                <a:cxn ang="0">
                  <a:pos x="25" y="8573"/>
                </a:cxn>
                <a:cxn ang="0">
                  <a:pos x="118" y="8999"/>
                </a:cxn>
                <a:cxn ang="0">
                  <a:pos x="550" y="9470"/>
                </a:cxn>
                <a:cxn ang="0">
                  <a:pos x="1104" y="9586"/>
                </a:cxn>
                <a:cxn ang="0">
                  <a:pos x="1033" y="9595"/>
                </a:cxn>
                <a:cxn ang="0">
                  <a:pos x="1066" y="9612"/>
                </a:cxn>
                <a:cxn ang="0">
                  <a:pos x="1089" y="9628"/>
                </a:cxn>
                <a:cxn ang="0">
                  <a:pos x="285" y="9334"/>
                </a:cxn>
                <a:cxn ang="0">
                  <a:pos x="10" y="8725"/>
                </a:cxn>
                <a:cxn ang="0">
                  <a:pos x="7" y="8206"/>
                </a:cxn>
                <a:cxn ang="0">
                  <a:pos x="19" y="7539"/>
                </a:cxn>
                <a:cxn ang="0">
                  <a:pos x="17" y="6323"/>
                </a:cxn>
                <a:cxn ang="0">
                  <a:pos x="17" y="1056"/>
                </a:cxn>
              </a:cxnLst>
              <a:rect l="0" t="0" r="r" b="b"/>
              <a:pathLst>
                <a:path w="1104" h="9644">
                  <a:moveTo>
                    <a:pt x="17" y="1056"/>
                  </a:moveTo>
                  <a:cubicBezTo>
                    <a:pt x="20" y="704"/>
                    <a:pt x="12" y="352"/>
                    <a:pt x="21" y="0"/>
                  </a:cubicBezTo>
                  <a:cubicBezTo>
                    <a:pt x="29" y="430"/>
                    <a:pt x="23" y="860"/>
                    <a:pt x="25" y="1290"/>
                  </a:cubicBezTo>
                  <a:cubicBezTo>
                    <a:pt x="25" y="3073"/>
                    <a:pt x="24" y="4856"/>
                    <a:pt x="25" y="6640"/>
                  </a:cubicBezTo>
                  <a:cubicBezTo>
                    <a:pt x="28" y="6949"/>
                    <a:pt x="18" y="7258"/>
                    <a:pt x="35" y="7566"/>
                  </a:cubicBezTo>
                  <a:cubicBezTo>
                    <a:pt x="8" y="7677"/>
                    <a:pt x="24" y="7792"/>
                    <a:pt x="21" y="7906"/>
                  </a:cubicBezTo>
                  <a:cubicBezTo>
                    <a:pt x="19" y="8022"/>
                    <a:pt x="25" y="8139"/>
                    <a:pt x="33" y="8256"/>
                  </a:cubicBezTo>
                  <a:cubicBezTo>
                    <a:pt x="41" y="8362"/>
                    <a:pt x="10" y="8467"/>
                    <a:pt x="25" y="8573"/>
                  </a:cubicBezTo>
                  <a:cubicBezTo>
                    <a:pt x="47" y="8717"/>
                    <a:pt x="56" y="8866"/>
                    <a:pt x="118" y="8999"/>
                  </a:cubicBezTo>
                  <a:cubicBezTo>
                    <a:pt x="199" y="9202"/>
                    <a:pt x="354" y="9374"/>
                    <a:pt x="550" y="9470"/>
                  </a:cubicBezTo>
                  <a:cubicBezTo>
                    <a:pt x="721" y="9558"/>
                    <a:pt x="914" y="9581"/>
                    <a:pt x="1104" y="9586"/>
                  </a:cubicBezTo>
                  <a:cubicBezTo>
                    <a:pt x="1080" y="9589"/>
                    <a:pt x="1056" y="9592"/>
                    <a:pt x="1033" y="9595"/>
                  </a:cubicBezTo>
                  <a:cubicBezTo>
                    <a:pt x="1041" y="9599"/>
                    <a:pt x="1057" y="9608"/>
                    <a:pt x="1066" y="9612"/>
                  </a:cubicBezTo>
                  <a:lnTo>
                    <a:pt x="1089" y="9628"/>
                  </a:lnTo>
                  <a:cubicBezTo>
                    <a:pt x="797" y="9644"/>
                    <a:pt x="490" y="9548"/>
                    <a:pt x="285" y="9334"/>
                  </a:cubicBezTo>
                  <a:cubicBezTo>
                    <a:pt x="124" y="9172"/>
                    <a:pt x="35" y="8950"/>
                    <a:pt x="10" y="8725"/>
                  </a:cubicBezTo>
                  <a:cubicBezTo>
                    <a:pt x="6" y="8552"/>
                    <a:pt x="9" y="8379"/>
                    <a:pt x="7" y="8206"/>
                  </a:cubicBezTo>
                  <a:cubicBezTo>
                    <a:pt x="10" y="7984"/>
                    <a:pt x="0" y="7761"/>
                    <a:pt x="19" y="7539"/>
                  </a:cubicBezTo>
                  <a:cubicBezTo>
                    <a:pt x="13" y="7134"/>
                    <a:pt x="19" y="6728"/>
                    <a:pt x="17" y="6323"/>
                  </a:cubicBezTo>
                  <a:cubicBezTo>
                    <a:pt x="17" y="4568"/>
                    <a:pt x="17" y="2812"/>
                    <a:pt x="17" y="1056"/>
                  </a:cubicBezTo>
                </a:path>
              </a:pathLst>
            </a:custGeom>
            <a:solidFill>
              <a:srgbClr val="83858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13C38FF2-E41B-4567-A51D-8C9AAC6AA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7" y="1372"/>
              <a:ext cx="44" cy="149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98" y="8"/>
                </a:cxn>
                <a:cxn ang="0">
                  <a:pos x="101" y="671"/>
                </a:cxn>
                <a:cxn ang="0">
                  <a:pos x="115" y="752"/>
                </a:cxn>
                <a:cxn ang="0">
                  <a:pos x="181" y="751"/>
                </a:cxn>
                <a:cxn ang="0">
                  <a:pos x="190" y="0"/>
                </a:cxn>
                <a:cxn ang="0">
                  <a:pos x="198" y="236"/>
                </a:cxn>
                <a:cxn ang="0">
                  <a:pos x="197" y="1187"/>
                </a:cxn>
                <a:cxn ang="0">
                  <a:pos x="219" y="1296"/>
                </a:cxn>
                <a:cxn ang="0">
                  <a:pos x="223" y="2088"/>
                </a:cxn>
                <a:cxn ang="0">
                  <a:pos x="223" y="7371"/>
                </a:cxn>
                <a:cxn ang="0">
                  <a:pos x="207" y="7676"/>
                </a:cxn>
                <a:cxn ang="0">
                  <a:pos x="194" y="7136"/>
                </a:cxn>
                <a:cxn ang="0">
                  <a:pos x="174" y="7577"/>
                </a:cxn>
                <a:cxn ang="0">
                  <a:pos x="171" y="6854"/>
                </a:cxn>
                <a:cxn ang="0">
                  <a:pos x="152" y="6568"/>
                </a:cxn>
                <a:cxn ang="0">
                  <a:pos x="120" y="6636"/>
                </a:cxn>
                <a:cxn ang="0">
                  <a:pos x="114" y="7286"/>
                </a:cxn>
                <a:cxn ang="0">
                  <a:pos x="104" y="7442"/>
                </a:cxn>
                <a:cxn ang="0">
                  <a:pos x="95" y="6820"/>
                </a:cxn>
                <a:cxn ang="0">
                  <a:pos x="97" y="5358"/>
                </a:cxn>
                <a:cxn ang="0">
                  <a:pos x="1" y="5351"/>
                </a:cxn>
                <a:cxn ang="0">
                  <a:pos x="1" y="0"/>
                </a:cxn>
              </a:cxnLst>
              <a:rect l="0" t="0" r="r" b="b"/>
              <a:pathLst>
                <a:path w="228" h="7676">
                  <a:moveTo>
                    <a:pt x="1" y="0"/>
                  </a:moveTo>
                  <a:cubicBezTo>
                    <a:pt x="33" y="2"/>
                    <a:pt x="66" y="5"/>
                    <a:pt x="98" y="8"/>
                  </a:cubicBezTo>
                  <a:cubicBezTo>
                    <a:pt x="106" y="228"/>
                    <a:pt x="97" y="450"/>
                    <a:pt x="101" y="671"/>
                  </a:cubicBezTo>
                  <a:cubicBezTo>
                    <a:pt x="103" y="698"/>
                    <a:pt x="109" y="725"/>
                    <a:pt x="115" y="752"/>
                  </a:cubicBezTo>
                  <a:cubicBezTo>
                    <a:pt x="137" y="752"/>
                    <a:pt x="159" y="751"/>
                    <a:pt x="181" y="751"/>
                  </a:cubicBezTo>
                  <a:cubicBezTo>
                    <a:pt x="191" y="501"/>
                    <a:pt x="171" y="250"/>
                    <a:pt x="190" y="0"/>
                  </a:cubicBezTo>
                  <a:cubicBezTo>
                    <a:pt x="201" y="78"/>
                    <a:pt x="199" y="157"/>
                    <a:pt x="198" y="236"/>
                  </a:cubicBezTo>
                  <a:cubicBezTo>
                    <a:pt x="198" y="553"/>
                    <a:pt x="200" y="870"/>
                    <a:pt x="197" y="1187"/>
                  </a:cubicBezTo>
                  <a:cubicBezTo>
                    <a:pt x="197" y="1225"/>
                    <a:pt x="209" y="1261"/>
                    <a:pt x="219" y="1296"/>
                  </a:cubicBezTo>
                  <a:cubicBezTo>
                    <a:pt x="228" y="1560"/>
                    <a:pt x="221" y="1824"/>
                    <a:pt x="223" y="2088"/>
                  </a:cubicBezTo>
                  <a:cubicBezTo>
                    <a:pt x="223" y="3849"/>
                    <a:pt x="223" y="5610"/>
                    <a:pt x="223" y="7371"/>
                  </a:cubicBezTo>
                  <a:cubicBezTo>
                    <a:pt x="225" y="7473"/>
                    <a:pt x="225" y="7575"/>
                    <a:pt x="207" y="7676"/>
                  </a:cubicBezTo>
                  <a:cubicBezTo>
                    <a:pt x="187" y="7496"/>
                    <a:pt x="207" y="7316"/>
                    <a:pt x="194" y="7136"/>
                  </a:cubicBezTo>
                  <a:cubicBezTo>
                    <a:pt x="178" y="7283"/>
                    <a:pt x="207" y="7432"/>
                    <a:pt x="174" y="7577"/>
                  </a:cubicBezTo>
                  <a:cubicBezTo>
                    <a:pt x="171" y="7336"/>
                    <a:pt x="174" y="7095"/>
                    <a:pt x="171" y="6854"/>
                  </a:cubicBezTo>
                  <a:cubicBezTo>
                    <a:pt x="169" y="6759"/>
                    <a:pt x="181" y="6661"/>
                    <a:pt x="152" y="6568"/>
                  </a:cubicBezTo>
                  <a:cubicBezTo>
                    <a:pt x="131" y="6585"/>
                    <a:pt x="117" y="6608"/>
                    <a:pt x="120" y="6636"/>
                  </a:cubicBezTo>
                  <a:cubicBezTo>
                    <a:pt x="115" y="6853"/>
                    <a:pt x="112" y="7069"/>
                    <a:pt x="114" y="7286"/>
                  </a:cubicBezTo>
                  <a:cubicBezTo>
                    <a:pt x="114" y="7338"/>
                    <a:pt x="111" y="7390"/>
                    <a:pt x="104" y="7442"/>
                  </a:cubicBezTo>
                  <a:cubicBezTo>
                    <a:pt x="85" y="7235"/>
                    <a:pt x="100" y="7027"/>
                    <a:pt x="95" y="6820"/>
                  </a:cubicBezTo>
                  <a:cubicBezTo>
                    <a:pt x="99" y="6332"/>
                    <a:pt x="104" y="5845"/>
                    <a:pt x="97" y="5358"/>
                  </a:cubicBezTo>
                  <a:cubicBezTo>
                    <a:pt x="65" y="5356"/>
                    <a:pt x="33" y="5353"/>
                    <a:pt x="1" y="5351"/>
                  </a:cubicBezTo>
                  <a:cubicBezTo>
                    <a:pt x="1" y="3567"/>
                    <a:pt x="0" y="1784"/>
                    <a:pt x="1" y="0"/>
                  </a:cubicBezTo>
                </a:path>
              </a:pathLst>
            </a:custGeom>
            <a:solidFill>
              <a:srgbClr val="EFEFE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84E1386B-904E-411C-93C5-D5FDF8153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2" y="1617"/>
              <a:ext cx="1335" cy="139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34" y="126"/>
                </a:cxn>
                <a:cxn ang="0">
                  <a:pos x="36" y="592"/>
                </a:cxn>
                <a:cxn ang="0">
                  <a:pos x="108" y="587"/>
                </a:cxn>
                <a:cxn ang="0">
                  <a:pos x="117" y="10"/>
                </a:cxn>
                <a:cxn ang="0">
                  <a:pos x="193" y="10"/>
                </a:cxn>
                <a:cxn ang="0">
                  <a:pos x="196" y="909"/>
                </a:cxn>
                <a:cxn ang="0">
                  <a:pos x="196" y="2492"/>
                </a:cxn>
                <a:cxn ang="0">
                  <a:pos x="210" y="2633"/>
                </a:cxn>
                <a:cxn ang="0">
                  <a:pos x="213" y="4809"/>
                </a:cxn>
                <a:cxn ang="0">
                  <a:pos x="217" y="5654"/>
                </a:cxn>
                <a:cxn ang="0">
                  <a:pos x="301" y="5655"/>
                </a:cxn>
                <a:cxn ang="0">
                  <a:pos x="270" y="5673"/>
                </a:cxn>
                <a:cxn ang="0">
                  <a:pos x="2715" y="5676"/>
                </a:cxn>
                <a:cxn ang="0">
                  <a:pos x="6606" y="5674"/>
                </a:cxn>
                <a:cxn ang="0">
                  <a:pos x="6580" y="5655"/>
                </a:cxn>
                <a:cxn ang="0">
                  <a:pos x="6641" y="5653"/>
                </a:cxn>
                <a:cxn ang="0">
                  <a:pos x="6643" y="5592"/>
                </a:cxn>
                <a:cxn ang="0">
                  <a:pos x="6662" y="5618"/>
                </a:cxn>
                <a:cxn ang="0">
                  <a:pos x="6665" y="4090"/>
                </a:cxn>
                <a:cxn ang="0">
                  <a:pos x="6761" y="4097"/>
                </a:cxn>
                <a:cxn ang="0">
                  <a:pos x="6759" y="5559"/>
                </a:cxn>
                <a:cxn ang="0">
                  <a:pos x="6768" y="6181"/>
                </a:cxn>
                <a:cxn ang="0">
                  <a:pos x="6611" y="6622"/>
                </a:cxn>
                <a:cxn ang="0">
                  <a:pos x="6476" y="6813"/>
                </a:cxn>
                <a:cxn ang="0">
                  <a:pos x="6618" y="6780"/>
                </a:cxn>
                <a:cxn ang="0">
                  <a:pos x="6838" y="6316"/>
                </a:cxn>
                <a:cxn ang="0">
                  <a:pos x="6858" y="5875"/>
                </a:cxn>
                <a:cxn ang="0">
                  <a:pos x="6871" y="6415"/>
                </a:cxn>
                <a:cxn ang="0">
                  <a:pos x="6848" y="6538"/>
                </a:cxn>
                <a:cxn ang="0">
                  <a:pos x="6661" y="6870"/>
                </a:cxn>
                <a:cxn ang="0">
                  <a:pos x="6081" y="7142"/>
                </a:cxn>
                <a:cxn ang="0">
                  <a:pos x="5831" y="7146"/>
                </a:cxn>
                <a:cxn ang="0">
                  <a:pos x="1014" y="7149"/>
                </a:cxn>
                <a:cxn ang="0">
                  <a:pos x="696" y="7133"/>
                </a:cxn>
                <a:cxn ang="0">
                  <a:pos x="259" y="6915"/>
                </a:cxn>
                <a:cxn ang="0">
                  <a:pos x="8" y="6260"/>
                </a:cxn>
                <a:cxn ang="0">
                  <a:pos x="7" y="1126"/>
                </a:cxn>
                <a:cxn ang="0">
                  <a:pos x="13" y="0"/>
                </a:cxn>
              </a:cxnLst>
              <a:rect l="0" t="0" r="r" b="b"/>
              <a:pathLst>
                <a:path w="6871" h="7155">
                  <a:moveTo>
                    <a:pt x="13" y="0"/>
                  </a:moveTo>
                  <a:cubicBezTo>
                    <a:pt x="24" y="41"/>
                    <a:pt x="35" y="83"/>
                    <a:pt x="34" y="126"/>
                  </a:cubicBezTo>
                  <a:cubicBezTo>
                    <a:pt x="33" y="281"/>
                    <a:pt x="29" y="437"/>
                    <a:pt x="36" y="592"/>
                  </a:cubicBezTo>
                  <a:cubicBezTo>
                    <a:pt x="60" y="590"/>
                    <a:pt x="84" y="588"/>
                    <a:pt x="108" y="587"/>
                  </a:cubicBezTo>
                  <a:cubicBezTo>
                    <a:pt x="125" y="395"/>
                    <a:pt x="106" y="202"/>
                    <a:pt x="117" y="10"/>
                  </a:cubicBezTo>
                  <a:cubicBezTo>
                    <a:pt x="143" y="10"/>
                    <a:pt x="168" y="10"/>
                    <a:pt x="193" y="10"/>
                  </a:cubicBezTo>
                  <a:cubicBezTo>
                    <a:pt x="198" y="310"/>
                    <a:pt x="193" y="609"/>
                    <a:pt x="196" y="909"/>
                  </a:cubicBezTo>
                  <a:cubicBezTo>
                    <a:pt x="194" y="1437"/>
                    <a:pt x="199" y="1964"/>
                    <a:pt x="196" y="2492"/>
                  </a:cubicBezTo>
                  <a:cubicBezTo>
                    <a:pt x="196" y="2539"/>
                    <a:pt x="203" y="2586"/>
                    <a:pt x="210" y="2633"/>
                  </a:cubicBezTo>
                  <a:cubicBezTo>
                    <a:pt x="216" y="3358"/>
                    <a:pt x="211" y="4084"/>
                    <a:pt x="213" y="4809"/>
                  </a:cubicBezTo>
                  <a:cubicBezTo>
                    <a:pt x="216" y="5091"/>
                    <a:pt x="208" y="5373"/>
                    <a:pt x="217" y="5654"/>
                  </a:cubicBezTo>
                  <a:cubicBezTo>
                    <a:pt x="245" y="5654"/>
                    <a:pt x="273" y="5655"/>
                    <a:pt x="301" y="5655"/>
                  </a:cubicBezTo>
                  <a:cubicBezTo>
                    <a:pt x="293" y="5659"/>
                    <a:pt x="278" y="5668"/>
                    <a:pt x="270" y="5673"/>
                  </a:cubicBezTo>
                  <a:cubicBezTo>
                    <a:pt x="1085" y="5680"/>
                    <a:pt x="1900" y="5674"/>
                    <a:pt x="2715" y="5676"/>
                  </a:cubicBezTo>
                  <a:cubicBezTo>
                    <a:pt x="4012" y="5674"/>
                    <a:pt x="5309" y="5679"/>
                    <a:pt x="6606" y="5674"/>
                  </a:cubicBezTo>
                  <a:cubicBezTo>
                    <a:pt x="6599" y="5669"/>
                    <a:pt x="6587" y="5659"/>
                    <a:pt x="6580" y="5655"/>
                  </a:cubicBezTo>
                  <a:cubicBezTo>
                    <a:pt x="6600" y="5654"/>
                    <a:pt x="6621" y="5653"/>
                    <a:pt x="6641" y="5653"/>
                  </a:cubicBezTo>
                  <a:cubicBezTo>
                    <a:pt x="6642" y="5632"/>
                    <a:pt x="6643" y="5612"/>
                    <a:pt x="6643" y="5592"/>
                  </a:cubicBezTo>
                  <a:lnTo>
                    <a:pt x="6662" y="5618"/>
                  </a:lnTo>
                  <a:cubicBezTo>
                    <a:pt x="6667" y="5109"/>
                    <a:pt x="6663" y="4599"/>
                    <a:pt x="6665" y="4090"/>
                  </a:cubicBezTo>
                  <a:cubicBezTo>
                    <a:pt x="6697" y="4092"/>
                    <a:pt x="6729" y="4095"/>
                    <a:pt x="6761" y="4097"/>
                  </a:cubicBezTo>
                  <a:cubicBezTo>
                    <a:pt x="6768" y="4584"/>
                    <a:pt x="6763" y="5071"/>
                    <a:pt x="6759" y="5559"/>
                  </a:cubicBezTo>
                  <a:cubicBezTo>
                    <a:pt x="6764" y="5766"/>
                    <a:pt x="6749" y="5974"/>
                    <a:pt x="6768" y="6181"/>
                  </a:cubicBezTo>
                  <a:cubicBezTo>
                    <a:pt x="6753" y="6338"/>
                    <a:pt x="6698" y="6490"/>
                    <a:pt x="6611" y="6622"/>
                  </a:cubicBezTo>
                  <a:cubicBezTo>
                    <a:pt x="6568" y="6687"/>
                    <a:pt x="6510" y="6742"/>
                    <a:pt x="6476" y="6813"/>
                  </a:cubicBezTo>
                  <a:cubicBezTo>
                    <a:pt x="6525" y="6818"/>
                    <a:pt x="6580" y="6817"/>
                    <a:pt x="6618" y="6780"/>
                  </a:cubicBezTo>
                  <a:cubicBezTo>
                    <a:pt x="6748" y="6661"/>
                    <a:pt x="6806" y="6485"/>
                    <a:pt x="6838" y="6316"/>
                  </a:cubicBezTo>
                  <a:cubicBezTo>
                    <a:pt x="6871" y="6171"/>
                    <a:pt x="6842" y="6022"/>
                    <a:pt x="6858" y="5875"/>
                  </a:cubicBezTo>
                  <a:cubicBezTo>
                    <a:pt x="6871" y="6055"/>
                    <a:pt x="6851" y="6235"/>
                    <a:pt x="6871" y="6415"/>
                  </a:cubicBezTo>
                  <a:cubicBezTo>
                    <a:pt x="6865" y="6456"/>
                    <a:pt x="6857" y="6497"/>
                    <a:pt x="6848" y="6538"/>
                  </a:cubicBezTo>
                  <a:cubicBezTo>
                    <a:pt x="6795" y="6653"/>
                    <a:pt x="6752" y="6778"/>
                    <a:pt x="6661" y="6870"/>
                  </a:cubicBezTo>
                  <a:cubicBezTo>
                    <a:pt x="6517" y="7037"/>
                    <a:pt x="6299" y="7131"/>
                    <a:pt x="6081" y="7142"/>
                  </a:cubicBezTo>
                  <a:cubicBezTo>
                    <a:pt x="5998" y="7147"/>
                    <a:pt x="5914" y="7145"/>
                    <a:pt x="5831" y="7146"/>
                  </a:cubicBezTo>
                  <a:cubicBezTo>
                    <a:pt x="4225" y="7147"/>
                    <a:pt x="2620" y="7148"/>
                    <a:pt x="1014" y="7149"/>
                  </a:cubicBezTo>
                  <a:cubicBezTo>
                    <a:pt x="908" y="7149"/>
                    <a:pt x="800" y="7155"/>
                    <a:pt x="696" y="7133"/>
                  </a:cubicBezTo>
                  <a:cubicBezTo>
                    <a:pt x="535" y="7100"/>
                    <a:pt x="379" y="7028"/>
                    <a:pt x="259" y="6915"/>
                  </a:cubicBezTo>
                  <a:cubicBezTo>
                    <a:pt x="90" y="6743"/>
                    <a:pt x="3" y="6499"/>
                    <a:pt x="8" y="6260"/>
                  </a:cubicBezTo>
                  <a:cubicBezTo>
                    <a:pt x="8" y="4549"/>
                    <a:pt x="7" y="2838"/>
                    <a:pt x="7" y="1126"/>
                  </a:cubicBezTo>
                  <a:cubicBezTo>
                    <a:pt x="11" y="751"/>
                    <a:pt x="0" y="375"/>
                    <a:pt x="13" y="0"/>
                  </a:cubicBezTo>
                </a:path>
              </a:pathLst>
            </a:custGeom>
            <a:solidFill>
              <a:srgbClr val="EBECE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8D451795-4220-411C-B3E6-FF6C91124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" y="2634"/>
              <a:ext cx="1390" cy="397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60" y="823"/>
                </a:cxn>
                <a:cxn ang="0">
                  <a:pos x="81" y="1187"/>
                </a:cxn>
                <a:cxn ang="0">
                  <a:pos x="234" y="1578"/>
                </a:cxn>
                <a:cxn ang="0">
                  <a:pos x="326" y="1673"/>
                </a:cxn>
                <a:cxn ang="0">
                  <a:pos x="690" y="1905"/>
                </a:cxn>
                <a:cxn ang="0">
                  <a:pos x="1304" y="1962"/>
                </a:cxn>
                <a:cxn ang="0">
                  <a:pos x="4938" y="1961"/>
                </a:cxn>
                <a:cxn ang="0">
                  <a:pos x="6221" y="1950"/>
                </a:cxn>
                <a:cxn ang="0">
                  <a:pos x="6750" y="1742"/>
                </a:cxn>
                <a:cxn ang="0">
                  <a:pos x="6840" y="1676"/>
                </a:cxn>
                <a:cxn ang="0">
                  <a:pos x="7080" y="1024"/>
                </a:cxn>
                <a:cxn ang="0">
                  <a:pos x="7093" y="870"/>
                </a:cxn>
                <a:cxn ang="0">
                  <a:pos x="7128" y="562"/>
                </a:cxn>
                <a:cxn ang="0">
                  <a:pos x="7142" y="906"/>
                </a:cxn>
                <a:cxn ang="0">
                  <a:pos x="7120" y="1131"/>
                </a:cxn>
                <a:cxn ang="0">
                  <a:pos x="6823" y="1757"/>
                </a:cxn>
                <a:cxn ang="0">
                  <a:pos x="6348" y="1997"/>
                </a:cxn>
                <a:cxn ang="0">
                  <a:pos x="6005" y="2016"/>
                </a:cxn>
                <a:cxn ang="0">
                  <a:pos x="4255" y="2016"/>
                </a:cxn>
                <a:cxn ang="0">
                  <a:pos x="3917" y="2026"/>
                </a:cxn>
                <a:cxn ang="0">
                  <a:pos x="3154" y="2032"/>
                </a:cxn>
                <a:cxn ang="0">
                  <a:pos x="1905" y="2033"/>
                </a:cxn>
                <a:cxn ang="0">
                  <a:pos x="1348" y="2039"/>
                </a:cxn>
                <a:cxn ang="0">
                  <a:pos x="1096" y="2020"/>
                </a:cxn>
                <a:cxn ang="0">
                  <a:pos x="542" y="1904"/>
                </a:cxn>
                <a:cxn ang="0">
                  <a:pos x="110" y="1433"/>
                </a:cxn>
                <a:cxn ang="0">
                  <a:pos x="17" y="1007"/>
                </a:cxn>
                <a:cxn ang="0">
                  <a:pos x="25" y="690"/>
                </a:cxn>
                <a:cxn ang="0">
                  <a:pos x="13" y="340"/>
                </a:cxn>
                <a:cxn ang="0">
                  <a:pos x="27" y="0"/>
                </a:cxn>
              </a:cxnLst>
              <a:rect l="0" t="0" r="r" b="b"/>
              <a:pathLst>
                <a:path w="7153" h="2039">
                  <a:moveTo>
                    <a:pt x="27" y="0"/>
                  </a:moveTo>
                  <a:cubicBezTo>
                    <a:pt x="55" y="274"/>
                    <a:pt x="33" y="550"/>
                    <a:pt x="60" y="823"/>
                  </a:cubicBezTo>
                  <a:cubicBezTo>
                    <a:pt x="68" y="944"/>
                    <a:pt x="55" y="1067"/>
                    <a:pt x="81" y="1187"/>
                  </a:cubicBezTo>
                  <a:cubicBezTo>
                    <a:pt x="103" y="1326"/>
                    <a:pt x="159" y="1459"/>
                    <a:pt x="234" y="1578"/>
                  </a:cubicBezTo>
                  <a:cubicBezTo>
                    <a:pt x="258" y="1616"/>
                    <a:pt x="293" y="1644"/>
                    <a:pt x="326" y="1673"/>
                  </a:cubicBezTo>
                  <a:cubicBezTo>
                    <a:pt x="427" y="1777"/>
                    <a:pt x="551" y="1861"/>
                    <a:pt x="690" y="1905"/>
                  </a:cubicBezTo>
                  <a:cubicBezTo>
                    <a:pt x="887" y="1974"/>
                    <a:pt x="1098" y="1962"/>
                    <a:pt x="1304" y="1962"/>
                  </a:cubicBezTo>
                  <a:cubicBezTo>
                    <a:pt x="2515" y="1962"/>
                    <a:pt x="3726" y="1961"/>
                    <a:pt x="4938" y="1961"/>
                  </a:cubicBezTo>
                  <a:cubicBezTo>
                    <a:pt x="5365" y="1941"/>
                    <a:pt x="5794" y="1958"/>
                    <a:pt x="6221" y="1950"/>
                  </a:cubicBezTo>
                  <a:cubicBezTo>
                    <a:pt x="6414" y="1939"/>
                    <a:pt x="6601" y="1865"/>
                    <a:pt x="6750" y="1742"/>
                  </a:cubicBezTo>
                  <a:cubicBezTo>
                    <a:pt x="6781" y="1722"/>
                    <a:pt x="6814" y="1704"/>
                    <a:pt x="6840" y="1676"/>
                  </a:cubicBezTo>
                  <a:cubicBezTo>
                    <a:pt x="6999" y="1501"/>
                    <a:pt x="7097" y="1262"/>
                    <a:pt x="7080" y="1024"/>
                  </a:cubicBezTo>
                  <a:cubicBezTo>
                    <a:pt x="7079" y="972"/>
                    <a:pt x="7086" y="921"/>
                    <a:pt x="7093" y="870"/>
                  </a:cubicBezTo>
                  <a:cubicBezTo>
                    <a:pt x="7107" y="767"/>
                    <a:pt x="7090" y="661"/>
                    <a:pt x="7128" y="562"/>
                  </a:cubicBezTo>
                  <a:cubicBezTo>
                    <a:pt x="7139" y="677"/>
                    <a:pt x="7124" y="792"/>
                    <a:pt x="7142" y="906"/>
                  </a:cubicBezTo>
                  <a:cubicBezTo>
                    <a:pt x="7153" y="982"/>
                    <a:pt x="7129" y="1056"/>
                    <a:pt x="7120" y="1131"/>
                  </a:cubicBezTo>
                  <a:cubicBezTo>
                    <a:pt x="7101" y="1366"/>
                    <a:pt x="6994" y="1595"/>
                    <a:pt x="6823" y="1757"/>
                  </a:cubicBezTo>
                  <a:cubicBezTo>
                    <a:pt x="6700" y="1891"/>
                    <a:pt x="6522" y="1959"/>
                    <a:pt x="6348" y="1997"/>
                  </a:cubicBezTo>
                  <a:cubicBezTo>
                    <a:pt x="6235" y="2023"/>
                    <a:pt x="6119" y="2015"/>
                    <a:pt x="6005" y="2016"/>
                  </a:cubicBezTo>
                  <a:cubicBezTo>
                    <a:pt x="5422" y="2016"/>
                    <a:pt x="4838" y="2016"/>
                    <a:pt x="4255" y="2016"/>
                  </a:cubicBezTo>
                  <a:cubicBezTo>
                    <a:pt x="4142" y="2017"/>
                    <a:pt x="4029" y="2010"/>
                    <a:pt x="3917" y="2026"/>
                  </a:cubicBezTo>
                  <a:cubicBezTo>
                    <a:pt x="3663" y="2036"/>
                    <a:pt x="3408" y="2024"/>
                    <a:pt x="3154" y="2032"/>
                  </a:cubicBezTo>
                  <a:cubicBezTo>
                    <a:pt x="2738" y="2034"/>
                    <a:pt x="2321" y="2033"/>
                    <a:pt x="1905" y="2033"/>
                  </a:cubicBezTo>
                  <a:cubicBezTo>
                    <a:pt x="1719" y="2036"/>
                    <a:pt x="1533" y="2025"/>
                    <a:pt x="1348" y="2039"/>
                  </a:cubicBezTo>
                  <a:cubicBezTo>
                    <a:pt x="1265" y="2019"/>
                    <a:pt x="1180" y="2024"/>
                    <a:pt x="1096" y="2020"/>
                  </a:cubicBezTo>
                  <a:cubicBezTo>
                    <a:pt x="906" y="2015"/>
                    <a:pt x="713" y="1992"/>
                    <a:pt x="542" y="1904"/>
                  </a:cubicBezTo>
                  <a:cubicBezTo>
                    <a:pt x="346" y="1808"/>
                    <a:pt x="191" y="1636"/>
                    <a:pt x="110" y="1433"/>
                  </a:cubicBezTo>
                  <a:cubicBezTo>
                    <a:pt x="48" y="1300"/>
                    <a:pt x="39" y="1151"/>
                    <a:pt x="17" y="1007"/>
                  </a:cubicBezTo>
                  <a:cubicBezTo>
                    <a:pt x="2" y="901"/>
                    <a:pt x="33" y="796"/>
                    <a:pt x="25" y="690"/>
                  </a:cubicBezTo>
                  <a:cubicBezTo>
                    <a:pt x="17" y="573"/>
                    <a:pt x="11" y="456"/>
                    <a:pt x="13" y="340"/>
                  </a:cubicBezTo>
                  <a:cubicBezTo>
                    <a:pt x="16" y="226"/>
                    <a:pt x="0" y="111"/>
                    <a:pt x="27" y="0"/>
                  </a:cubicBezTo>
                </a:path>
              </a:pathLst>
            </a:custGeom>
            <a:solidFill>
              <a:srgbClr val="A9ABA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142CB131-6E4C-4761-8E7B-DF6E6C842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2648"/>
              <a:ext cx="72" cy="294"/>
            </a:xfrm>
            <a:custGeom>
              <a:avLst/>
              <a:gdLst/>
              <a:ahLst/>
              <a:cxnLst>
                <a:cxn ang="0">
                  <a:pos x="308" y="68"/>
                </a:cxn>
                <a:cxn ang="0">
                  <a:pos x="340" y="0"/>
                </a:cxn>
                <a:cxn ang="0">
                  <a:pos x="359" y="286"/>
                </a:cxn>
                <a:cxn ang="0">
                  <a:pos x="362" y="1009"/>
                </a:cxn>
                <a:cxn ang="0">
                  <a:pos x="142" y="1473"/>
                </a:cxn>
                <a:cxn ang="0">
                  <a:pos x="0" y="1506"/>
                </a:cxn>
                <a:cxn ang="0">
                  <a:pos x="135" y="1315"/>
                </a:cxn>
                <a:cxn ang="0">
                  <a:pos x="292" y="874"/>
                </a:cxn>
                <a:cxn ang="0">
                  <a:pos x="302" y="718"/>
                </a:cxn>
                <a:cxn ang="0">
                  <a:pos x="308" y="68"/>
                </a:cxn>
              </a:cxnLst>
              <a:rect l="0" t="0" r="r" b="b"/>
              <a:pathLst>
                <a:path w="369" h="1511">
                  <a:moveTo>
                    <a:pt x="308" y="68"/>
                  </a:moveTo>
                  <a:cubicBezTo>
                    <a:pt x="305" y="40"/>
                    <a:pt x="319" y="17"/>
                    <a:pt x="340" y="0"/>
                  </a:cubicBezTo>
                  <a:cubicBezTo>
                    <a:pt x="369" y="93"/>
                    <a:pt x="357" y="191"/>
                    <a:pt x="359" y="286"/>
                  </a:cubicBezTo>
                  <a:cubicBezTo>
                    <a:pt x="362" y="527"/>
                    <a:pt x="359" y="768"/>
                    <a:pt x="362" y="1009"/>
                  </a:cubicBezTo>
                  <a:cubicBezTo>
                    <a:pt x="330" y="1178"/>
                    <a:pt x="272" y="1354"/>
                    <a:pt x="142" y="1473"/>
                  </a:cubicBezTo>
                  <a:cubicBezTo>
                    <a:pt x="104" y="1510"/>
                    <a:pt x="49" y="1511"/>
                    <a:pt x="0" y="1506"/>
                  </a:cubicBezTo>
                  <a:cubicBezTo>
                    <a:pt x="34" y="1435"/>
                    <a:pt x="92" y="1380"/>
                    <a:pt x="135" y="1315"/>
                  </a:cubicBezTo>
                  <a:cubicBezTo>
                    <a:pt x="222" y="1183"/>
                    <a:pt x="277" y="1031"/>
                    <a:pt x="292" y="874"/>
                  </a:cubicBezTo>
                  <a:cubicBezTo>
                    <a:pt x="299" y="822"/>
                    <a:pt x="302" y="770"/>
                    <a:pt x="302" y="718"/>
                  </a:cubicBezTo>
                  <a:cubicBezTo>
                    <a:pt x="300" y="501"/>
                    <a:pt x="303" y="285"/>
                    <a:pt x="308" y="6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7B22279B-B3DB-4FCB-97E9-1B5688805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16"/>
              <a:ext cx="1231" cy="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31" y="1"/>
                </a:cxn>
                <a:cxn ang="0">
                  <a:pos x="6310" y="1"/>
                </a:cxn>
                <a:cxn ang="0">
                  <a:pos x="6336" y="20"/>
                </a:cxn>
                <a:cxn ang="0">
                  <a:pos x="2445" y="22"/>
                </a:cxn>
                <a:cxn ang="0">
                  <a:pos x="0" y="19"/>
                </a:cxn>
              </a:cxnLst>
              <a:rect l="0" t="0" r="r" b="b"/>
              <a:pathLst>
                <a:path w="6336" h="26">
                  <a:moveTo>
                    <a:pt x="0" y="19"/>
                  </a:moveTo>
                  <a:cubicBezTo>
                    <a:pt x="8" y="14"/>
                    <a:pt x="23" y="5"/>
                    <a:pt x="31" y="1"/>
                  </a:cubicBezTo>
                  <a:cubicBezTo>
                    <a:pt x="2124" y="0"/>
                    <a:pt x="4217" y="0"/>
                    <a:pt x="6310" y="1"/>
                  </a:cubicBezTo>
                  <a:cubicBezTo>
                    <a:pt x="6317" y="5"/>
                    <a:pt x="6329" y="15"/>
                    <a:pt x="6336" y="20"/>
                  </a:cubicBezTo>
                  <a:cubicBezTo>
                    <a:pt x="5039" y="25"/>
                    <a:pt x="3742" y="20"/>
                    <a:pt x="2445" y="22"/>
                  </a:cubicBezTo>
                  <a:cubicBezTo>
                    <a:pt x="1630" y="20"/>
                    <a:pt x="815" y="26"/>
                    <a:pt x="0" y="19"/>
                  </a:cubicBezTo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01E8570F-DB7A-4F4D-B20E-0FB08B15F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6" y="2741"/>
              <a:ext cx="75" cy="200"/>
            </a:xfrm>
            <a:custGeom>
              <a:avLst/>
              <a:gdLst/>
              <a:ahLst/>
              <a:cxnLst>
                <a:cxn ang="0">
                  <a:pos x="18" y="142"/>
                </a:cxn>
                <a:cxn ang="0">
                  <a:pos x="44" y="0"/>
                </a:cxn>
                <a:cxn ang="0">
                  <a:pos x="81" y="43"/>
                </a:cxn>
                <a:cxn ang="0">
                  <a:pos x="84" y="312"/>
                </a:cxn>
                <a:cxn ang="0">
                  <a:pos x="383" y="998"/>
                </a:cxn>
                <a:cxn ang="0">
                  <a:pos x="232" y="989"/>
                </a:cxn>
                <a:cxn ang="0">
                  <a:pos x="101" y="804"/>
                </a:cxn>
                <a:cxn ang="0">
                  <a:pos x="18" y="142"/>
                </a:cxn>
              </a:cxnLst>
              <a:rect l="0" t="0" r="r" b="b"/>
              <a:pathLst>
                <a:path w="383" h="1030">
                  <a:moveTo>
                    <a:pt x="18" y="142"/>
                  </a:moveTo>
                  <a:cubicBezTo>
                    <a:pt x="24" y="95"/>
                    <a:pt x="8" y="38"/>
                    <a:pt x="44" y="0"/>
                  </a:cubicBezTo>
                  <a:cubicBezTo>
                    <a:pt x="68" y="4"/>
                    <a:pt x="80" y="19"/>
                    <a:pt x="81" y="43"/>
                  </a:cubicBezTo>
                  <a:cubicBezTo>
                    <a:pt x="86" y="132"/>
                    <a:pt x="81" y="222"/>
                    <a:pt x="84" y="312"/>
                  </a:cubicBezTo>
                  <a:cubicBezTo>
                    <a:pt x="90" y="568"/>
                    <a:pt x="199" y="819"/>
                    <a:pt x="383" y="998"/>
                  </a:cubicBezTo>
                  <a:cubicBezTo>
                    <a:pt x="339" y="1030"/>
                    <a:pt x="271" y="1028"/>
                    <a:pt x="232" y="989"/>
                  </a:cubicBezTo>
                  <a:cubicBezTo>
                    <a:pt x="177" y="936"/>
                    <a:pt x="137" y="871"/>
                    <a:pt x="101" y="804"/>
                  </a:cubicBezTo>
                  <a:cubicBezTo>
                    <a:pt x="0" y="599"/>
                    <a:pt x="6" y="365"/>
                    <a:pt x="18" y="142"/>
                  </a:cubicBezTo>
                  <a:close/>
                </a:path>
              </a:pathLst>
            </a:custGeom>
            <a:solidFill>
              <a:srgbClr val="FEFEF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2EF1D3D6-0CB7-4E11-82F2-5B774F49B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2752"/>
              <a:ext cx="162" cy="77"/>
            </a:xfrm>
            <a:custGeom>
              <a:avLst/>
              <a:gdLst/>
              <a:ahLst/>
              <a:cxnLst>
                <a:cxn ang="0">
                  <a:pos x="8" y="352"/>
                </a:cxn>
                <a:cxn ang="0">
                  <a:pos x="630" y="100"/>
                </a:cxn>
                <a:cxn ang="0">
                  <a:pos x="789" y="226"/>
                </a:cxn>
                <a:cxn ang="0">
                  <a:pos x="838" y="297"/>
                </a:cxn>
                <a:cxn ang="0">
                  <a:pos x="805" y="292"/>
                </a:cxn>
                <a:cxn ang="0">
                  <a:pos x="766" y="233"/>
                </a:cxn>
                <a:cxn ang="0">
                  <a:pos x="727" y="203"/>
                </a:cxn>
                <a:cxn ang="0">
                  <a:pos x="328" y="128"/>
                </a:cxn>
                <a:cxn ang="0">
                  <a:pos x="44" y="390"/>
                </a:cxn>
                <a:cxn ang="0">
                  <a:pos x="0" y="399"/>
                </a:cxn>
                <a:cxn ang="0">
                  <a:pos x="8" y="352"/>
                </a:cxn>
              </a:cxnLst>
              <a:rect l="0" t="0" r="r" b="b"/>
              <a:pathLst>
                <a:path w="838" h="399">
                  <a:moveTo>
                    <a:pt x="8" y="352"/>
                  </a:moveTo>
                  <a:cubicBezTo>
                    <a:pt x="106" y="122"/>
                    <a:pt x="400" y="0"/>
                    <a:pt x="630" y="100"/>
                  </a:cubicBezTo>
                  <a:cubicBezTo>
                    <a:pt x="690" y="129"/>
                    <a:pt x="758" y="163"/>
                    <a:pt x="789" y="226"/>
                  </a:cubicBezTo>
                  <a:cubicBezTo>
                    <a:pt x="825" y="231"/>
                    <a:pt x="835" y="265"/>
                    <a:pt x="838" y="297"/>
                  </a:cubicBezTo>
                  <a:lnTo>
                    <a:pt x="805" y="292"/>
                  </a:lnTo>
                  <a:cubicBezTo>
                    <a:pt x="789" y="274"/>
                    <a:pt x="776" y="254"/>
                    <a:pt x="766" y="233"/>
                  </a:cubicBezTo>
                  <a:cubicBezTo>
                    <a:pt x="753" y="222"/>
                    <a:pt x="740" y="212"/>
                    <a:pt x="727" y="203"/>
                  </a:cubicBezTo>
                  <a:cubicBezTo>
                    <a:pt x="613" y="123"/>
                    <a:pt x="464" y="89"/>
                    <a:pt x="328" y="128"/>
                  </a:cubicBezTo>
                  <a:cubicBezTo>
                    <a:pt x="199" y="165"/>
                    <a:pt x="94" y="266"/>
                    <a:pt x="44" y="390"/>
                  </a:cubicBezTo>
                  <a:cubicBezTo>
                    <a:pt x="33" y="392"/>
                    <a:pt x="11" y="397"/>
                    <a:pt x="0" y="399"/>
                  </a:cubicBezTo>
                  <a:cubicBezTo>
                    <a:pt x="2" y="387"/>
                    <a:pt x="6" y="364"/>
                    <a:pt x="8" y="352"/>
                  </a:cubicBezTo>
                </a:path>
              </a:pathLst>
            </a:custGeom>
            <a:solidFill>
              <a:srgbClr val="3333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03D0BC4E-7915-4B6E-B8D1-C1196FFC4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" y="2820"/>
              <a:ext cx="12" cy="25"/>
            </a:xfrm>
            <a:custGeom>
              <a:avLst/>
              <a:gdLst/>
              <a:ahLst/>
              <a:cxnLst>
                <a:cxn ang="0">
                  <a:pos x="3" y="131"/>
                </a:cxn>
                <a:cxn ang="0">
                  <a:pos x="26" y="0"/>
                </a:cxn>
                <a:cxn ang="0">
                  <a:pos x="18" y="47"/>
                </a:cxn>
                <a:cxn ang="0">
                  <a:pos x="62" y="38"/>
                </a:cxn>
                <a:cxn ang="0">
                  <a:pos x="32" y="120"/>
                </a:cxn>
                <a:cxn ang="0">
                  <a:pos x="3" y="131"/>
                </a:cxn>
              </a:cxnLst>
              <a:rect l="0" t="0" r="r" b="b"/>
              <a:pathLst>
                <a:path w="62" h="131">
                  <a:moveTo>
                    <a:pt x="3" y="131"/>
                  </a:moveTo>
                  <a:cubicBezTo>
                    <a:pt x="1" y="86"/>
                    <a:pt x="0" y="39"/>
                    <a:pt x="26" y="0"/>
                  </a:cubicBezTo>
                  <a:cubicBezTo>
                    <a:pt x="24" y="12"/>
                    <a:pt x="20" y="35"/>
                    <a:pt x="18" y="47"/>
                  </a:cubicBezTo>
                  <a:cubicBezTo>
                    <a:pt x="29" y="45"/>
                    <a:pt x="51" y="40"/>
                    <a:pt x="62" y="38"/>
                  </a:cubicBezTo>
                  <a:cubicBezTo>
                    <a:pt x="53" y="66"/>
                    <a:pt x="43" y="93"/>
                    <a:pt x="32" y="120"/>
                  </a:cubicBezTo>
                  <a:lnTo>
                    <a:pt x="3" y="131"/>
                  </a:lnTo>
                  <a:close/>
                </a:path>
              </a:pathLst>
            </a:custGeom>
            <a:solidFill>
              <a:srgbClr val="B4B4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5093524D-7CB2-44E9-8592-E0003A585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" y="2888"/>
              <a:ext cx="13" cy="21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62" y="0"/>
                </a:cxn>
                <a:cxn ang="0">
                  <a:pos x="44" y="108"/>
                </a:cxn>
                <a:cxn ang="0">
                  <a:pos x="26" y="88"/>
                </a:cxn>
                <a:cxn ang="0">
                  <a:pos x="13" y="70"/>
                </a:cxn>
                <a:cxn ang="0">
                  <a:pos x="0" y="52"/>
                </a:cxn>
              </a:cxnLst>
              <a:rect l="0" t="0" r="r" b="b"/>
              <a:pathLst>
                <a:path w="63" h="108">
                  <a:moveTo>
                    <a:pt x="0" y="52"/>
                  </a:moveTo>
                  <a:cubicBezTo>
                    <a:pt x="18" y="31"/>
                    <a:pt x="37" y="12"/>
                    <a:pt x="62" y="0"/>
                  </a:cubicBezTo>
                  <a:cubicBezTo>
                    <a:pt x="63" y="36"/>
                    <a:pt x="57" y="73"/>
                    <a:pt x="44" y="108"/>
                  </a:cubicBezTo>
                  <a:lnTo>
                    <a:pt x="26" y="88"/>
                  </a:lnTo>
                  <a:cubicBezTo>
                    <a:pt x="22" y="82"/>
                    <a:pt x="18" y="76"/>
                    <a:pt x="13" y="70"/>
                  </a:cubicBezTo>
                  <a:lnTo>
                    <a:pt x="0" y="52"/>
                  </a:lnTo>
                </a:path>
              </a:pathLst>
            </a:custGeom>
            <a:solidFill>
              <a:srgbClr val="C7C6C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8D38F4D0-EC3D-4FC2-A8EC-EC8BDF8FA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" y="2902"/>
              <a:ext cx="90" cy="55"/>
            </a:xfrm>
            <a:custGeom>
              <a:avLst/>
              <a:gdLst/>
              <a:ahLst/>
              <a:cxnLst>
                <a:cxn ang="0">
                  <a:pos x="442" y="0"/>
                </a:cxn>
                <a:cxn ang="0">
                  <a:pos x="455" y="18"/>
                </a:cxn>
                <a:cxn ang="0">
                  <a:pos x="461" y="35"/>
                </a:cxn>
                <a:cxn ang="0">
                  <a:pos x="0" y="253"/>
                </a:cxn>
                <a:cxn ang="0">
                  <a:pos x="164" y="200"/>
                </a:cxn>
                <a:cxn ang="0">
                  <a:pos x="442" y="0"/>
                </a:cxn>
              </a:cxnLst>
              <a:rect l="0" t="0" r="r" b="b"/>
              <a:pathLst>
                <a:path w="461" h="285">
                  <a:moveTo>
                    <a:pt x="442" y="0"/>
                  </a:moveTo>
                  <a:cubicBezTo>
                    <a:pt x="447" y="6"/>
                    <a:pt x="451" y="12"/>
                    <a:pt x="455" y="18"/>
                  </a:cubicBezTo>
                  <a:lnTo>
                    <a:pt x="461" y="35"/>
                  </a:lnTo>
                  <a:cubicBezTo>
                    <a:pt x="365" y="187"/>
                    <a:pt x="181" y="285"/>
                    <a:pt x="0" y="253"/>
                  </a:cubicBezTo>
                  <a:cubicBezTo>
                    <a:pt x="49" y="220"/>
                    <a:pt x="108" y="213"/>
                    <a:pt x="164" y="200"/>
                  </a:cubicBezTo>
                  <a:cubicBezTo>
                    <a:pt x="280" y="172"/>
                    <a:pt x="366" y="87"/>
                    <a:pt x="442" y="0"/>
                  </a:cubicBezTo>
                </a:path>
              </a:pathLst>
            </a:custGeom>
            <a:solidFill>
              <a:srgbClr val="2F2F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28C4BA75-9404-4F40-9CC7-5B924B652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" y="2908"/>
              <a:ext cx="47" cy="3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3" y="71"/>
                </a:cxn>
                <a:cxn ang="0">
                  <a:pos x="245" y="161"/>
                </a:cxn>
                <a:cxn ang="0">
                  <a:pos x="224" y="167"/>
                </a:cxn>
                <a:cxn ang="0">
                  <a:pos x="221" y="203"/>
                </a:cxn>
                <a:cxn ang="0">
                  <a:pos x="0" y="0"/>
                </a:cxn>
              </a:cxnLst>
              <a:rect l="0" t="0" r="r" b="b"/>
              <a:pathLst>
                <a:path w="245" h="203">
                  <a:moveTo>
                    <a:pt x="0" y="0"/>
                  </a:moveTo>
                  <a:cubicBezTo>
                    <a:pt x="35" y="18"/>
                    <a:pt x="63" y="46"/>
                    <a:pt x="93" y="71"/>
                  </a:cubicBezTo>
                  <a:cubicBezTo>
                    <a:pt x="139" y="109"/>
                    <a:pt x="194" y="131"/>
                    <a:pt x="245" y="161"/>
                  </a:cubicBezTo>
                  <a:cubicBezTo>
                    <a:pt x="240" y="162"/>
                    <a:pt x="229" y="165"/>
                    <a:pt x="224" y="167"/>
                  </a:cubicBezTo>
                  <a:cubicBezTo>
                    <a:pt x="224" y="176"/>
                    <a:pt x="222" y="194"/>
                    <a:pt x="221" y="203"/>
                  </a:cubicBezTo>
                  <a:cubicBezTo>
                    <a:pt x="128" y="166"/>
                    <a:pt x="32" y="100"/>
                    <a:pt x="0" y="0"/>
                  </a:cubicBezTo>
                </a:path>
              </a:pathLst>
            </a:custGeom>
            <a:solidFill>
              <a:srgbClr val="A8A8A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F0902B6A-929C-4DA3-95B7-BE4C364B3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" y="2939"/>
              <a:ext cx="54" cy="13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24" y="0"/>
                </a:cxn>
                <a:cxn ang="0">
                  <a:pos x="278" y="8"/>
                </a:cxn>
                <a:cxn ang="0">
                  <a:pos x="114" y="61"/>
                </a:cxn>
                <a:cxn ang="0">
                  <a:pos x="0" y="42"/>
                </a:cxn>
                <a:cxn ang="0">
                  <a:pos x="3" y="6"/>
                </a:cxn>
              </a:cxnLst>
              <a:rect l="0" t="0" r="r" b="b"/>
              <a:pathLst>
                <a:path w="278" h="66">
                  <a:moveTo>
                    <a:pt x="3" y="6"/>
                  </a:moveTo>
                  <a:cubicBezTo>
                    <a:pt x="8" y="4"/>
                    <a:pt x="19" y="1"/>
                    <a:pt x="24" y="0"/>
                  </a:cubicBezTo>
                  <a:cubicBezTo>
                    <a:pt x="106" y="24"/>
                    <a:pt x="194" y="22"/>
                    <a:pt x="278" y="8"/>
                  </a:cubicBezTo>
                  <a:cubicBezTo>
                    <a:pt x="222" y="21"/>
                    <a:pt x="163" y="28"/>
                    <a:pt x="114" y="61"/>
                  </a:cubicBezTo>
                  <a:cubicBezTo>
                    <a:pt x="76" y="66"/>
                    <a:pt x="38" y="48"/>
                    <a:pt x="0" y="42"/>
                  </a:cubicBezTo>
                  <a:cubicBezTo>
                    <a:pt x="1" y="33"/>
                    <a:pt x="3" y="15"/>
                    <a:pt x="3" y="6"/>
                  </a:cubicBezTo>
                  <a:close/>
                </a:path>
              </a:pathLst>
            </a:custGeom>
            <a:solidFill>
              <a:srgbClr val="6363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21332611-0D79-4178-9958-1C53A29F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4" y="3027"/>
              <a:ext cx="63" cy="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71" y="1"/>
                </a:cxn>
                <a:cxn ang="0">
                  <a:pos x="323" y="20"/>
                </a:cxn>
                <a:cxn ang="0">
                  <a:pos x="33" y="27"/>
                </a:cxn>
                <a:cxn ang="0">
                  <a:pos x="0" y="10"/>
                </a:cxn>
              </a:cxnLst>
              <a:rect l="0" t="0" r="r" b="b"/>
              <a:pathLst>
                <a:path w="323" h="29">
                  <a:moveTo>
                    <a:pt x="0" y="10"/>
                  </a:moveTo>
                  <a:cubicBezTo>
                    <a:pt x="23" y="7"/>
                    <a:pt x="47" y="4"/>
                    <a:pt x="71" y="1"/>
                  </a:cubicBezTo>
                  <a:cubicBezTo>
                    <a:pt x="155" y="5"/>
                    <a:pt x="240" y="0"/>
                    <a:pt x="323" y="20"/>
                  </a:cubicBezTo>
                  <a:cubicBezTo>
                    <a:pt x="226" y="29"/>
                    <a:pt x="129" y="16"/>
                    <a:pt x="33" y="27"/>
                  </a:cubicBezTo>
                  <a:cubicBezTo>
                    <a:pt x="24" y="23"/>
                    <a:pt x="8" y="14"/>
                    <a:pt x="0" y="10"/>
                  </a:cubicBezTo>
                </a:path>
              </a:pathLst>
            </a:custGeom>
            <a:solidFill>
              <a:srgbClr val="BEBE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39650940-EBD8-449E-B6CB-29BB6DF9C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1" y="3028"/>
              <a:ext cx="564" cy="8"/>
            </a:xfrm>
            <a:custGeom>
              <a:avLst/>
              <a:gdLst/>
              <a:ahLst/>
              <a:cxnLst>
                <a:cxn ang="0">
                  <a:pos x="290" y="15"/>
                </a:cxn>
                <a:cxn ang="0">
                  <a:pos x="847" y="9"/>
                </a:cxn>
                <a:cxn ang="0">
                  <a:pos x="2096" y="8"/>
                </a:cxn>
                <a:cxn ang="0">
                  <a:pos x="2859" y="2"/>
                </a:cxn>
                <a:cxn ang="0">
                  <a:pos x="2903" y="41"/>
                </a:cxn>
                <a:cxn ang="0">
                  <a:pos x="23" y="38"/>
                </a:cxn>
                <a:cxn ang="0">
                  <a:pos x="0" y="22"/>
                </a:cxn>
                <a:cxn ang="0">
                  <a:pos x="290" y="15"/>
                </a:cxn>
              </a:cxnLst>
              <a:rect l="0" t="0" r="r" b="b"/>
              <a:pathLst>
                <a:path w="2903" h="42">
                  <a:moveTo>
                    <a:pt x="290" y="15"/>
                  </a:moveTo>
                  <a:cubicBezTo>
                    <a:pt x="475" y="1"/>
                    <a:pt x="661" y="12"/>
                    <a:pt x="847" y="9"/>
                  </a:cubicBezTo>
                  <a:cubicBezTo>
                    <a:pt x="1263" y="9"/>
                    <a:pt x="1680" y="10"/>
                    <a:pt x="2096" y="8"/>
                  </a:cubicBezTo>
                  <a:cubicBezTo>
                    <a:pt x="2350" y="0"/>
                    <a:pt x="2605" y="12"/>
                    <a:pt x="2859" y="2"/>
                  </a:cubicBezTo>
                  <a:cubicBezTo>
                    <a:pt x="2873" y="15"/>
                    <a:pt x="2888" y="28"/>
                    <a:pt x="2903" y="41"/>
                  </a:cubicBezTo>
                  <a:cubicBezTo>
                    <a:pt x="1943" y="38"/>
                    <a:pt x="982" y="42"/>
                    <a:pt x="23" y="38"/>
                  </a:cubicBezTo>
                  <a:lnTo>
                    <a:pt x="0" y="22"/>
                  </a:lnTo>
                  <a:cubicBezTo>
                    <a:pt x="96" y="11"/>
                    <a:pt x="193" y="24"/>
                    <a:pt x="290" y="15"/>
                  </a:cubicBezTo>
                </a:path>
              </a:pathLst>
            </a:custGeom>
            <a:solidFill>
              <a:srgbClr val="6363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4" name="Date Placeholder 3">
            <a:extLst>
              <a:ext uri="{FF2B5EF4-FFF2-40B4-BE49-F238E27FC236}">
                <a16:creationId xmlns:a16="http://schemas.microsoft.com/office/drawing/2014/main" id="{1F311617-EF70-4877-8138-B45A813288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CAC0B589-6743-4219-AE6D-AEE739109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45996159-A5CB-418E-B715-447224160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BEB18D-91C4-A345-A772-F6768B7D3883}"/>
              </a:ext>
            </a:extLst>
          </p:cNvPr>
          <p:cNvSpPr/>
          <p:nvPr userDrawn="1"/>
        </p:nvSpPr>
        <p:spPr>
          <a:xfrm>
            <a:off x="8165638" y="1780133"/>
            <a:ext cx="2085712" cy="3696983"/>
          </a:xfrm>
          <a:prstGeom prst="rect">
            <a:avLst/>
          </a:prstGeom>
          <a:solidFill>
            <a:srgbClr val="EF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K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E8DB5C22-5F5E-DB49-9E2B-8489A60D9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6194790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762B0DF-36AC-23EE-1359-A4045E996C86}"/>
              </a:ext>
            </a:extLst>
          </p:cNvPr>
          <p:cNvCxnSpPr>
            <a:cxnSpLocks/>
          </p:cNvCxnSpPr>
          <p:nvPr userDrawn="1"/>
        </p:nvCxnSpPr>
        <p:spPr>
          <a:xfrm>
            <a:off x="414792" y="1092530"/>
            <a:ext cx="6215598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accent2"/>
                </a:gs>
                <a:gs pos="50000">
                  <a:srgbClr val="C2388B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8">
            <a:extLst>
              <a:ext uri="{FF2B5EF4-FFF2-40B4-BE49-F238E27FC236}">
                <a16:creationId xmlns:a16="http://schemas.microsoft.com/office/drawing/2014/main" id="{20F1F7C4-E21F-D9C4-6129-3ACDDDF0E0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582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PAD (S)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raphic 9">
            <a:extLst>
              <a:ext uri="{FF2B5EF4-FFF2-40B4-BE49-F238E27FC236}">
                <a16:creationId xmlns:a16="http://schemas.microsoft.com/office/drawing/2014/main" id="{0B190DF1-ACEB-03EE-B336-335E1088987D}"/>
              </a:ext>
            </a:extLst>
          </p:cNvPr>
          <p:cNvSpPr/>
          <p:nvPr userDrawn="1"/>
        </p:nvSpPr>
        <p:spPr>
          <a:xfrm flipH="1">
            <a:off x="7723696" y="0"/>
            <a:ext cx="4461593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gradFill>
            <a:gsLst>
              <a:gs pos="0">
                <a:srgbClr val="8F1FF7">
                  <a:alpha val="80000"/>
                </a:srgbClr>
              </a:gs>
              <a:gs pos="50000">
                <a:srgbClr val="C2388B">
                  <a:lumMod val="100000"/>
                  <a:alpha val="80000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3" name="iPad">
            <a:extLst>
              <a:ext uri="{FF2B5EF4-FFF2-40B4-BE49-F238E27FC236}">
                <a16:creationId xmlns:a16="http://schemas.microsoft.com/office/drawing/2014/main" id="{45A3C756-D3BE-4DE6-ADF2-9FE08970157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479178" y="1188120"/>
            <a:ext cx="5548930" cy="5170702"/>
            <a:chOff x="2147" y="212"/>
            <a:chExt cx="3477" cy="3240"/>
          </a:xfrm>
        </p:grpSpPr>
        <p:sp>
          <p:nvSpPr>
            <p:cNvPr id="54" name="AutoShape 3">
              <a:extLst>
                <a:ext uri="{FF2B5EF4-FFF2-40B4-BE49-F238E27FC236}">
                  <a16:creationId xmlns:a16="http://schemas.microsoft.com/office/drawing/2014/main" id="{8BFD95BF-7609-42DF-AA99-9987ED08BB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47" y="212"/>
              <a:ext cx="3477" cy="3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5" hidden="1">
              <a:extLst>
                <a:ext uri="{FF2B5EF4-FFF2-40B4-BE49-F238E27FC236}">
                  <a16:creationId xmlns:a16="http://schemas.microsoft.com/office/drawing/2014/main" id="{3A640BF0-AF84-47FC-967E-AEFB6E92A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7" y="212"/>
              <a:ext cx="3469" cy="32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B6624055-B336-4F77-B8BC-0E6C59437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3" y="361"/>
              <a:ext cx="284" cy="13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151" y="8"/>
                </a:cxn>
                <a:cxn ang="0">
                  <a:pos x="1295" y="6"/>
                </a:cxn>
                <a:cxn ang="0">
                  <a:pos x="1403" y="5"/>
                </a:cxn>
                <a:cxn ang="0">
                  <a:pos x="1409" y="52"/>
                </a:cxn>
                <a:cxn ang="0">
                  <a:pos x="698" y="50"/>
                </a:cxn>
                <a:cxn ang="0">
                  <a:pos x="0" y="51"/>
                </a:cxn>
                <a:cxn ang="0">
                  <a:pos x="9" y="3"/>
                </a:cxn>
              </a:cxnLst>
              <a:rect l="0" t="0" r="r" b="b"/>
              <a:pathLst>
                <a:path w="1409" h="63">
                  <a:moveTo>
                    <a:pt x="9" y="3"/>
                  </a:moveTo>
                  <a:cubicBezTo>
                    <a:pt x="56" y="2"/>
                    <a:pt x="104" y="0"/>
                    <a:pt x="151" y="8"/>
                  </a:cubicBezTo>
                  <a:cubicBezTo>
                    <a:pt x="531" y="47"/>
                    <a:pt x="915" y="50"/>
                    <a:pt x="1295" y="6"/>
                  </a:cubicBezTo>
                  <a:cubicBezTo>
                    <a:pt x="1330" y="2"/>
                    <a:pt x="1367" y="4"/>
                    <a:pt x="1403" y="5"/>
                  </a:cubicBezTo>
                  <a:cubicBezTo>
                    <a:pt x="1405" y="20"/>
                    <a:pt x="1407" y="36"/>
                    <a:pt x="1409" y="52"/>
                  </a:cubicBezTo>
                  <a:cubicBezTo>
                    <a:pt x="1172" y="63"/>
                    <a:pt x="935" y="54"/>
                    <a:pt x="698" y="50"/>
                  </a:cubicBezTo>
                  <a:cubicBezTo>
                    <a:pt x="466" y="55"/>
                    <a:pt x="232" y="62"/>
                    <a:pt x="0" y="51"/>
                  </a:cubicBezTo>
                  <a:cubicBezTo>
                    <a:pt x="2" y="39"/>
                    <a:pt x="7" y="15"/>
                    <a:pt x="9" y="3"/>
                  </a:cubicBezTo>
                </a:path>
              </a:pathLst>
            </a:custGeom>
            <a:solidFill>
              <a:srgbClr val="2727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34EC05F2-51FB-45D7-9861-299DD5497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7" y="364"/>
              <a:ext cx="1464" cy="17"/>
            </a:xfrm>
            <a:custGeom>
              <a:avLst/>
              <a:gdLst/>
              <a:ahLst/>
              <a:cxnLst>
                <a:cxn ang="0">
                  <a:pos x="384" y="0"/>
                </a:cxn>
                <a:cxn ang="0">
                  <a:pos x="576" y="1"/>
                </a:cxn>
                <a:cxn ang="0">
                  <a:pos x="604" y="32"/>
                </a:cxn>
                <a:cxn ang="0">
                  <a:pos x="1175" y="36"/>
                </a:cxn>
                <a:cxn ang="0">
                  <a:pos x="1873" y="35"/>
                </a:cxn>
                <a:cxn ang="0">
                  <a:pos x="2584" y="37"/>
                </a:cxn>
                <a:cxn ang="0">
                  <a:pos x="5127" y="33"/>
                </a:cxn>
                <a:cxn ang="0">
                  <a:pos x="5094" y="73"/>
                </a:cxn>
                <a:cxn ang="0">
                  <a:pos x="6891" y="76"/>
                </a:cxn>
                <a:cxn ang="0">
                  <a:pos x="7279" y="84"/>
                </a:cxn>
                <a:cxn ang="0">
                  <a:pos x="6009" y="84"/>
                </a:cxn>
                <a:cxn ang="0">
                  <a:pos x="3757" y="83"/>
                </a:cxn>
                <a:cxn ang="0">
                  <a:pos x="1409" y="83"/>
                </a:cxn>
                <a:cxn ang="0">
                  <a:pos x="0" y="79"/>
                </a:cxn>
                <a:cxn ang="0">
                  <a:pos x="181" y="50"/>
                </a:cxn>
                <a:cxn ang="0">
                  <a:pos x="38" y="34"/>
                </a:cxn>
                <a:cxn ang="0">
                  <a:pos x="364" y="34"/>
                </a:cxn>
                <a:cxn ang="0">
                  <a:pos x="384" y="0"/>
                </a:cxn>
              </a:cxnLst>
              <a:rect l="0" t="0" r="r" b="b"/>
              <a:pathLst>
                <a:path w="7279" h="85">
                  <a:moveTo>
                    <a:pt x="384" y="0"/>
                  </a:moveTo>
                  <a:cubicBezTo>
                    <a:pt x="448" y="2"/>
                    <a:pt x="512" y="1"/>
                    <a:pt x="576" y="1"/>
                  </a:cubicBezTo>
                  <a:cubicBezTo>
                    <a:pt x="583" y="9"/>
                    <a:pt x="597" y="24"/>
                    <a:pt x="604" y="32"/>
                  </a:cubicBezTo>
                  <a:cubicBezTo>
                    <a:pt x="794" y="37"/>
                    <a:pt x="985" y="29"/>
                    <a:pt x="1175" y="36"/>
                  </a:cubicBezTo>
                  <a:cubicBezTo>
                    <a:pt x="1407" y="47"/>
                    <a:pt x="1641" y="40"/>
                    <a:pt x="1873" y="35"/>
                  </a:cubicBezTo>
                  <a:cubicBezTo>
                    <a:pt x="2110" y="39"/>
                    <a:pt x="2347" y="48"/>
                    <a:pt x="2584" y="37"/>
                  </a:cubicBezTo>
                  <a:cubicBezTo>
                    <a:pt x="3431" y="30"/>
                    <a:pt x="4279" y="34"/>
                    <a:pt x="5127" y="33"/>
                  </a:cubicBezTo>
                  <a:cubicBezTo>
                    <a:pt x="5116" y="46"/>
                    <a:pt x="5105" y="60"/>
                    <a:pt x="5094" y="73"/>
                  </a:cubicBezTo>
                  <a:cubicBezTo>
                    <a:pt x="5693" y="68"/>
                    <a:pt x="6292" y="80"/>
                    <a:pt x="6891" y="76"/>
                  </a:cubicBezTo>
                  <a:cubicBezTo>
                    <a:pt x="7020" y="80"/>
                    <a:pt x="7150" y="76"/>
                    <a:pt x="7279" y="84"/>
                  </a:cubicBezTo>
                  <a:cubicBezTo>
                    <a:pt x="6855" y="85"/>
                    <a:pt x="6432" y="84"/>
                    <a:pt x="6009" y="84"/>
                  </a:cubicBezTo>
                  <a:cubicBezTo>
                    <a:pt x="5259" y="81"/>
                    <a:pt x="4508" y="84"/>
                    <a:pt x="3757" y="83"/>
                  </a:cubicBezTo>
                  <a:cubicBezTo>
                    <a:pt x="2975" y="84"/>
                    <a:pt x="2192" y="80"/>
                    <a:pt x="1409" y="83"/>
                  </a:cubicBezTo>
                  <a:cubicBezTo>
                    <a:pt x="939" y="82"/>
                    <a:pt x="470" y="85"/>
                    <a:pt x="0" y="79"/>
                  </a:cubicBezTo>
                  <a:cubicBezTo>
                    <a:pt x="58" y="55"/>
                    <a:pt x="124" y="75"/>
                    <a:pt x="181" y="50"/>
                  </a:cubicBezTo>
                  <a:cubicBezTo>
                    <a:pt x="134" y="42"/>
                    <a:pt x="86" y="38"/>
                    <a:pt x="38" y="34"/>
                  </a:cubicBezTo>
                  <a:cubicBezTo>
                    <a:pt x="147" y="34"/>
                    <a:pt x="255" y="33"/>
                    <a:pt x="364" y="34"/>
                  </a:cubicBezTo>
                  <a:cubicBezTo>
                    <a:pt x="369" y="25"/>
                    <a:pt x="379" y="9"/>
                    <a:pt x="384" y="0"/>
                  </a:cubicBezTo>
                </a:path>
              </a:pathLst>
            </a:custGeom>
            <a:solidFill>
              <a:srgbClr val="83848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AF10D94F-4AC0-4174-8BDF-83355F72C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" y="365"/>
              <a:ext cx="39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193" y="10"/>
                </a:cxn>
                <a:cxn ang="0">
                  <a:pos x="194" y="37"/>
                </a:cxn>
                <a:cxn ang="0">
                  <a:pos x="0" y="39"/>
                </a:cxn>
                <a:cxn ang="0">
                  <a:pos x="8" y="8"/>
                </a:cxn>
              </a:cxnLst>
              <a:rect l="0" t="0" r="r" b="b"/>
              <a:pathLst>
                <a:path w="194" h="42">
                  <a:moveTo>
                    <a:pt x="8" y="8"/>
                  </a:moveTo>
                  <a:cubicBezTo>
                    <a:pt x="69" y="5"/>
                    <a:pt x="132" y="0"/>
                    <a:pt x="193" y="10"/>
                  </a:cubicBezTo>
                  <a:cubicBezTo>
                    <a:pt x="193" y="16"/>
                    <a:pt x="194" y="30"/>
                    <a:pt x="194" y="37"/>
                  </a:cubicBezTo>
                  <a:cubicBezTo>
                    <a:pt x="130" y="42"/>
                    <a:pt x="65" y="39"/>
                    <a:pt x="0" y="39"/>
                  </a:cubicBezTo>
                  <a:cubicBezTo>
                    <a:pt x="2" y="31"/>
                    <a:pt x="6" y="16"/>
                    <a:pt x="8" y="8"/>
                  </a:cubicBezTo>
                  <a:close/>
                </a:path>
              </a:pathLst>
            </a:custGeom>
            <a:solidFill>
              <a:srgbClr val="2424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94ADDE5C-04B4-4242-8035-E14FACE74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" y="364"/>
              <a:ext cx="51" cy="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57" y="18"/>
                </a:cxn>
                <a:cxn ang="0">
                  <a:pos x="10" y="26"/>
                </a:cxn>
                <a:cxn ang="0">
                  <a:pos x="0" y="9"/>
                </a:cxn>
              </a:cxnLst>
              <a:rect l="0" t="0" r="r" b="b"/>
              <a:pathLst>
                <a:path w="257" h="38">
                  <a:moveTo>
                    <a:pt x="0" y="9"/>
                  </a:moveTo>
                  <a:cubicBezTo>
                    <a:pt x="85" y="10"/>
                    <a:pt x="172" y="0"/>
                    <a:pt x="257" y="18"/>
                  </a:cubicBezTo>
                  <a:cubicBezTo>
                    <a:pt x="176" y="38"/>
                    <a:pt x="91" y="36"/>
                    <a:pt x="10" y="26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06060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F2191AB8-F124-432F-808D-A55B782F2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" y="364"/>
              <a:ext cx="44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20" y="13"/>
                </a:cxn>
                <a:cxn ang="0">
                  <a:pos x="0" y="18"/>
                </a:cxn>
              </a:cxnLst>
              <a:rect l="0" t="0" r="r" b="b"/>
              <a:pathLst>
                <a:path w="220" h="48">
                  <a:moveTo>
                    <a:pt x="0" y="18"/>
                  </a:moveTo>
                  <a:cubicBezTo>
                    <a:pt x="72" y="0"/>
                    <a:pt x="147" y="9"/>
                    <a:pt x="220" y="13"/>
                  </a:cubicBezTo>
                  <a:cubicBezTo>
                    <a:pt x="153" y="48"/>
                    <a:pt x="71" y="32"/>
                    <a:pt x="0" y="18"/>
                  </a:cubicBezTo>
                  <a:close/>
                </a:path>
              </a:pathLst>
            </a:custGeom>
            <a:solidFill>
              <a:srgbClr val="0707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02CDC451-973A-463A-A20C-312E6924E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" y="370"/>
              <a:ext cx="680" cy="13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3339" y="3"/>
                </a:cxn>
                <a:cxn ang="0">
                  <a:pos x="3377" y="22"/>
                </a:cxn>
                <a:cxn ang="0">
                  <a:pos x="3003" y="48"/>
                </a:cxn>
                <a:cxn ang="0">
                  <a:pos x="2994" y="50"/>
                </a:cxn>
                <a:cxn ang="0">
                  <a:pos x="2886" y="50"/>
                </a:cxn>
                <a:cxn ang="0">
                  <a:pos x="2877" y="50"/>
                </a:cxn>
                <a:cxn ang="0">
                  <a:pos x="2668" y="52"/>
                </a:cxn>
                <a:cxn ang="0">
                  <a:pos x="2185" y="54"/>
                </a:cxn>
                <a:cxn ang="0">
                  <a:pos x="1797" y="46"/>
                </a:cxn>
                <a:cxn ang="0">
                  <a:pos x="0" y="43"/>
                </a:cxn>
                <a:cxn ang="0">
                  <a:pos x="33" y="3"/>
                </a:cxn>
              </a:cxnLst>
              <a:rect l="0" t="0" r="r" b="b"/>
              <a:pathLst>
                <a:path w="3377" h="63">
                  <a:moveTo>
                    <a:pt x="33" y="3"/>
                  </a:moveTo>
                  <a:cubicBezTo>
                    <a:pt x="1135" y="4"/>
                    <a:pt x="2237" y="0"/>
                    <a:pt x="3339" y="3"/>
                  </a:cubicBezTo>
                  <a:cubicBezTo>
                    <a:pt x="3349" y="8"/>
                    <a:pt x="3368" y="17"/>
                    <a:pt x="3377" y="22"/>
                  </a:cubicBezTo>
                  <a:cubicBezTo>
                    <a:pt x="3257" y="63"/>
                    <a:pt x="3126" y="20"/>
                    <a:pt x="3003" y="48"/>
                  </a:cubicBezTo>
                  <a:lnTo>
                    <a:pt x="2994" y="50"/>
                  </a:lnTo>
                  <a:cubicBezTo>
                    <a:pt x="2967" y="13"/>
                    <a:pt x="2917" y="27"/>
                    <a:pt x="2886" y="50"/>
                  </a:cubicBezTo>
                  <a:lnTo>
                    <a:pt x="2877" y="50"/>
                  </a:lnTo>
                  <a:cubicBezTo>
                    <a:pt x="2815" y="12"/>
                    <a:pt x="2727" y="7"/>
                    <a:pt x="2668" y="52"/>
                  </a:cubicBezTo>
                  <a:cubicBezTo>
                    <a:pt x="2507" y="57"/>
                    <a:pt x="2346" y="53"/>
                    <a:pt x="2185" y="54"/>
                  </a:cubicBezTo>
                  <a:cubicBezTo>
                    <a:pt x="2056" y="46"/>
                    <a:pt x="1926" y="50"/>
                    <a:pt x="1797" y="46"/>
                  </a:cubicBezTo>
                  <a:cubicBezTo>
                    <a:pt x="1198" y="50"/>
                    <a:pt x="599" y="38"/>
                    <a:pt x="0" y="43"/>
                  </a:cubicBezTo>
                  <a:cubicBezTo>
                    <a:pt x="11" y="30"/>
                    <a:pt x="22" y="16"/>
                    <a:pt x="33" y="3"/>
                  </a:cubicBezTo>
                </a:path>
              </a:pathLst>
            </a:custGeom>
            <a:solidFill>
              <a:srgbClr val="7A7A7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id="{117FDCBA-EADF-4F14-8C26-880A19EC2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3" y="369"/>
              <a:ext cx="1261" cy="14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690" y="6"/>
                </a:cxn>
                <a:cxn ang="0">
                  <a:pos x="6008" y="10"/>
                </a:cxn>
                <a:cxn ang="0">
                  <a:pos x="6271" y="18"/>
                </a:cxn>
                <a:cxn ang="0">
                  <a:pos x="6033" y="54"/>
                </a:cxn>
                <a:cxn ang="0">
                  <a:pos x="6013" y="53"/>
                </a:cxn>
                <a:cxn ang="0">
                  <a:pos x="5593" y="44"/>
                </a:cxn>
                <a:cxn ang="0">
                  <a:pos x="4675" y="46"/>
                </a:cxn>
                <a:cxn ang="0">
                  <a:pos x="4442" y="31"/>
                </a:cxn>
                <a:cxn ang="0">
                  <a:pos x="3556" y="32"/>
                </a:cxn>
                <a:cxn ang="0">
                  <a:pos x="3535" y="59"/>
                </a:cxn>
                <a:cxn ang="0">
                  <a:pos x="3534" y="59"/>
                </a:cxn>
                <a:cxn ang="0">
                  <a:pos x="3539" y="27"/>
                </a:cxn>
                <a:cxn ang="0">
                  <a:pos x="907" y="29"/>
                </a:cxn>
                <a:cxn ang="0">
                  <a:pos x="38" y="30"/>
                </a:cxn>
                <a:cxn ang="0">
                  <a:pos x="0" y="11"/>
                </a:cxn>
              </a:cxnLst>
              <a:rect l="0" t="0" r="r" b="b"/>
              <a:pathLst>
                <a:path w="6271" h="70">
                  <a:moveTo>
                    <a:pt x="0" y="11"/>
                  </a:moveTo>
                  <a:cubicBezTo>
                    <a:pt x="230" y="1"/>
                    <a:pt x="460" y="9"/>
                    <a:pt x="690" y="6"/>
                  </a:cubicBezTo>
                  <a:cubicBezTo>
                    <a:pt x="2463" y="0"/>
                    <a:pt x="4236" y="6"/>
                    <a:pt x="6008" y="10"/>
                  </a:cubicBezTo>
                  <a:cubicBezTo>
                    <a:pt x="6096" y="13"/>
                    <a:pt x="6184" y="2"/>
                    <a:pt x="6271" y="18"/>
                  </a:cubicBezTo>
                  <a:cubicBezTo>
                    <a:pt x="6204" y="70"/>
                    <a:pt x="6112" y="40"/>
                    <a:pt x="6033" y="54"/>
                  </a:cubicBezTo>
                  <a:cubicBezTo>
                    <a:pt x="6028" y="54"/>
                    <a:pt x="6018" y="53"/>
                    <a:pt x="6013" y="53"/>
                  </a:cubicBezTo>
                  <a:cubicBezTo>
                    <a:pt x="5873" y="34"/>
                    <a:pt x="5732" y="49"/>
                    <a:pt x="5593" y="44"/>
                  </a:cubicBezTo>
                  <a:cubicBezTo>
                    <a:pt x="5287" y="55"/>
                    <a:pt x="4981" y="43"/>
                    <a:pt x="4675" y="46"/>
                  </a:cubicBezTo>
                  <a:cubicBezTo>
                    <a:pt x="4596" y="50"/>
                    <a:pt x="4520" y="27"/>
                    <a:pt x="4442" y="31"/>
                  </a:cubicBezTo>
                  <a:cubicBezTo>
                    <a:pt x="4146" y="33"/>
                    <a:pt x="3851" y="21"/>
                    <a:pt x="3556" y="32"/>
                  </a:cubicBezTo>
                  <a:cubicBezTo>
                    <a:pt x="3551" y="38"/>
                    <a:pt x="3540" y="52"/>
                    <a:pt x="3535" y="59"/>
                  </a:cubicBezTo>
                  <a:lnTo>
                    <a:pt x="3534" y="59"/>
                  </a:lnTo>
                  <a:lnTo>
                    <a:pt x="3539" y="27"/>
                  </a:lnTo>
                  <a:cubicBezTo>
                    <a:pt x="2662" y="32"/>
                    <a:pt x="1785" y="24"/>
                    <a:pt x="907" y="29"/>
                  </a:cubicBezTo>
                  <a:cubicBezTo>
                    <a:pt x="618" y="27"/>
                    <a:pt x="328" y="32"/>
                    <a:pt x="38" y="30"/>
                  </a:cubicBezTo>
                  <a:cubicBezTo>
                    <a:pt x="29" y="25"/>
                    <a:pt x="10" y="16"/>
                    <a:pt x="0" y="11"/>
                  </a:cubicBezTo>
                </a:path>
              </a:pathLst>
            </a:custGeom>
            <a:solidFill>
              <a:srgbClr val="94949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DA8C6BC8-3B1E-4A1D-A7A7-CB0DC14CE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7" y="370"/>
              <a:ext cx="207" cy="15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488" y="3"/>
                </a:cxn>
                <a:cxn ang="0">
                  <a:pos x="884" y="3"/>
                </a:cxn>
                <a:cxn ang="0">
                  <a:pos x="1027" y="19"/>
                </a:cxn>
                <a:cxn ang="0">
                  <a:pos x="846" y="48"/>
                </a:cxn>
                <a:cxn ang="0">
                  <a:pos x="268" y="57"/>
                </a:cxn>
                <a:cxn ang="0">
                  <a:pos x="131" y="71"/>
                </a:cxn>
                <a:cxn ang="0">
                  <a:pos x="0" y="55"/>
                </a:cxn>
              </a:cxnLst>
              <a:rect l="0" t="0" r="r" b="b"/>
              <a:pathLst>
                <a:path w="1027" h="71">
                  <a:moveTo>
                    <a:pt x="0" y="55"/>
                  </a:moveTo>
                  <a:cubicBezTo>
                    <a:pt x="156" y="0"/>
                    <a:pt x="325" y="2"/>
                    <a:pt x="488" y="3"/>
                  </a:cubicBezTo>
                  <a:cubicBezTo>
                    <a:pt x="620" y="5"/>
                    <a:pt x="752" y="0"/>
                    <a:pt x="884" y="3"/>
                  </a:cubicBezTo>
                  <a:cubicBezTo>
                    <a:pt x="932" y="7"/>
                    <a:pt x="980" y="11"/>
                    <a:pt x="1027" y="19"/>
                  </a:cubicBezTo>
                  <a:cubicBezTo>
                    <a:pt x="970" y="44"/>
                    <a:pt x="904" y="24"/>
                    <a:pt x="846" y="48"/>
                  </a:cubicBezTo>
                  <a:cubicBezTo>
                    <a:pt x="653" y="57"/>
                    <a:pt x="460" y="48"/>
                    <a:pt x="268" y="57"/>
                  </a:cubicBezTo>
                  <a:cubicBezTo>
                    <a:pt x="222" y="61"/>
                    <a:pt x="177" y="69"/>
                    <a:pt x="131" y="71"/>
                  </a:cubicBezTo>
                  <a:cubicBezTo>
                    <a:pt x="90" y="51"/>
                    <a:pt x="44" y="60"/>
                    <a:pt x="0" y="55"/>
                  </a:cubicBezTo>
                </a:path>
              </a:pathLst>
            </a:custGeom>
            <a:solidFill>
              <a:srgbClr val="9A9B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1DFD4AAE-4738-4F50-8ED1-CDAE0ED8D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" y="374"/>
              <a:ext cx="779" cy="9"/>
            </a:xfrm>
            <a:custGeom>
              <a:avLst/>
              <a:gdLst/>
              <a:ahLst/>
              <a:cxnLst>
                <a:cxn ang="0">
                  <a:pos x="374" y="6"/>
                </a:cxn>
                <a:cxn ang="0">
                  <a:pos x="1243" y="5"/>
                </a:cxn>
                <a:cxn ang="0">
                  <a:pos x="3875" y="3"/>
                </a:cxn>
                <a:cxn ang="0">
                  <a:pos x="3870" y="35"/>
                </a:cxn>
                <a:cxn ang="0">
                  <a:pos x="1011" y="36"/>
                </a:cxn>
                <a:cxn ang="0">
                  <a:pos x="0" y="32"/>
                </a:cxn>
                <a:cxn ang="0">
                  <a:pos x="374" y="6"/>
                </a:cxn>
              </a:cxnLst>
              <a:rect l="0" t="0" r="r" b="b"/>
              <a:pathLst>
                <a:path w="3875" h="47">
                  <a:moveTo>
                    <a:pt x="374" y="6"/>
                  </a:moveTo>
                  <a:cubicBezTo>
                    <a:pt x="664" y="8"/>
                    <a:pt x="954" y="3"/>
                    <a:pt x="1243" y="5"/>
                  </a:cubicBezTo>
                  <a:cubicBezTo>
                    <a:pt x="2121" y="0"/>
                    <a:pt x="2998" y="8"/>
                    <a:pt x="3875" y="3"/>
                  </a:cubicBezTo>
                  <a:lnTo>
                    <a:pt x="3870" y="35"/>
                  </a:lnTo>
                  <a:cubicBezTo>
                    <a:pt x="2917" y="37"/>
                    <a:pt x="1964" y="35"/>
                    <a:pt x="1011" y="36"/>
                  </a:cubicBezTo>
                  <a:cubicBezTo>
                    <a:pt x="674" y="34"/>
                    <a:pt x="337" y="38"/>
                    <a:pt x="0" y="32"/>
                  </a:cubicBezTo>
                  <a:cubicBezTo>
                    <a:pt x="123" y="4"/>
                    <a:pt x="254" y="47"/>
                    <a:pt x="374" y="6"/>
                  </a:cubicBezTo>
                </a:path>
              </a:pathLst>
            </a:custGeom>
            <a:solidFill>
              <a:srgbClr val="2526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21">
              <a:extLst>
                <a:ext uri="{FF2B5EF4-FFF2-40B4-BE49-F238E27FC236}">
                  <a16:creationId xmlns:a16="http://schemas.microsoft.com/office/drawing/2014/main" id="{42991604-3F59-4E56-B39C-0023B4320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6" y="372"/>
              <a:ext cx="117" cy="22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238" y="3"/>
                </a:cxn>
                <a:cxn ang="0">
                  <a:pos x="242" y="0"/>
                </a:cxn>
                <a:cxn ang="0">
                  <a:pos x="361" y="19"/>
                </a:cxn>
                <a:cxn ang="0">
                  <a:pos x="581" y="85"/>
                </a:cxn>
                <a:cxn ang="0">
                  <a:pos x="530" y="110"/>
                </a:cxn>
                <a:cxn ang="0">
                  <a:pos x="198" y="46"/>
                </a:cxn>
                <a:cxn ang="0">
                  <a:pos x="0" y="39"/>
                </a:cxn>
              </a:cxnLst>
              <a:rect l="0" t="0" r="r" b="b"/>
              <a:pathLst>
                <a:path w="581" h="110">
                  <a:moveTo>
                    <a:pt x="0" y="39"/>
                  </a:moveTo>
                  <a:cubicBezTo>
                    <a:pt x="79" y="25"/>
                    <a:pt x="171" y="55"/>
                    <a:pt x="238" y="3"/>
                  </a:cubicBezTo>
                  <a:lnTo>
                    <a:pt x="242" y="0"/>
                  </a:lnTo>
                  <a:cubicBezTo>
                    <a:pt x="277" y="21"/>
                    <a:pt x="322" y="9"/>
                    <a:pt x="361" y="19"/>
                  </a:cubicBezTo>
                  <a:cubicBezTo>
                    <a:pt x="435" y="36"/>
                    <a:pt x="514" y="46"/>
                    <a:pt x="581" y="85"/>
                  </a:cubicBezTo>
                  <a:cubicBezTo>
                    <a:pt x="569" y="91"/>
                    <a:pt x="543" y="103"/>
                    <a:pt x="530" y="110"/>
                  </a:cubicBezTo>
                  <a:cubicBezTo>
                    <a:pt x="422" y="76"/>
                    <a:pt x="311" y="49"/>
                    <a:pt x="198" y="46"/>
                  </a:cubicBezTo>
                  <a:cubicBezTo>
                    <a:pt x="132" y="43"/>
                    <a:pt x="66" y="44"/>
                    <a:pt x="0" y="39"/>
                  </a:cubicBezTo>
                </a:path>
              </a:pathLst>
            </a:custGeom>
            <a:solidFill>
              <a:srgbClr val="53545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08C4CD56-8B51-4C67-BC21-E87F66995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8" y="372"/>
              <a:ext cx="42" cy="9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209" y="43"/>
                </a:cxn>
                <a:cxn ang="0">
                  <a:pos x="0" y="45"/>
                </a:cxn>
              </a:cxnLst>
              <a:rect l="0" t="0" r="r" b="b"/>
              <a:pathLst>
                <a:path w="209" h="46">
                  <a:moveTo>
                    <a:pt x="0" y="45"/>
                  </a:moveTo>
                  <a:cubicBezTo>
                    <a:pt x="59" y="0"/>
                    <a:pt x="147" y="5"/>
                    <a:pt x="209" y="43"/>
                  </a:cubicBezTo>
                  <a:cubicBezTo>
                    <a:pt x="139" y="46"/>
                    <a:pt x="69" y="46"/>
                    <a:pt x="0" y="45"/>
                  </a:cubicBezTo>
                  <a:close/>
                </a:path>
              </a:pathLst>
            </a:custGeom>
            <a:solidFill>
              <a:srgbClr val="55565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23">
              <a:extLst>
                <a:ext uri="{FF2B5EF4-FFF2-40B4-BE49-F238E27FC236}">
                  <a16:creationId xmlns:a16="http://schemas.microsoft.com/office/drawing/2014/main" id="{2842AD02-024D-4D9D-9189-8077E7DC2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2" y="373"/>
              <a:ext cx="21" cy="9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108" y="37"/>
                </a:cxn>
                <a:cxn ang="0">
                  <a:pos x="0" y="37"/>
                </a:cxn>
              </a:cxnLst>
              <a:rect l="0" t="0" r="r" b="b"/>
              <a:pathLst>
                <a:path w="108" h="44">
                  <a:moveTo>
                    <a:pt x="0" y="37"/>
                  </a:moveTo>
                  <a:cubicBezTo>
                    <a:pt x="31" y="14"/>
                    <a:pt x="81" y="0"/>
                    <a:pt x="108" y="37"/>
                  </a:cubicBezTo>
                  <a:cubicBezTo>
                    <a:pt x="72" y="44"/>
                    <a:pt x="36" y="41"/>
                    <a:pt x="0" y="37"/>
                  </a:cubicBezTo>
                  <a:close/>
                </a:path>
              </a:pathLst>
            </a:custGeom>
            <a:solidFill>
              <a:srgbClr val="54555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id="{68F373F3-CCEF-4F44-98E4-99F2ECC05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4" y="373"/>
              <a:ext cx="498" cy="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21" y="11"/>
                </a:cxn>
                <a:cxn ang="0">
                  <a:pos x="907" y="10"/>
                </a:cxn>
                <a:cxn ang="0">
                  <a:pos x="1140" y="25"/>
                </a:cxn>
                <a:cxn ang="0">
                  <a:pos x="2058" y="23"/>
                </a:cxn>
                <a:cxn ang="0">
                  <a:pos x="2478" y="32"/>
                </a:cxn>
                <a:cxn ang="0">
                  <a:pos x="1841" y="37"/>
                </a:cxn>
                <a:cxn ang="0">
                  <a:pos x="0" y="38"/>
                </a:cxn>
              </a:cxnLst>
              <a:rect l="0" t="0" r="r" b="b"/>
              <a:pathLst>
                <a:path w="2478" h="39">
                  <a:moveTo>
                    <a:pt x="0" y="38"/>
                  </a:moveTo>
                  <a:cubicBezTo>
                    <a:pt x="5" y="31"/>
                    <a:pt x="16" y="17"/>
                    <a:pt x="21" y="11"/>
                  </a:cubicBezTo>
                  <a:cubicBezTo>
                    <a:pt x="316" y="0"/>
                    <a:pt x="611" y="12"/>
                    <a:pt x="907" y="10"/>
                  </a:cubicBezTo>
                  <a:cubicBezTo>
                    <a:pt x="985" y="6"/>
                    <a:pt x="1061" y="29"/>
                    <a:pt x="1140" y="25"/>
                  </a:cubicBezTo>
                  <a:cubicBezTo>
                    <a:pt x="1446" y="22"/>
                    <a:pt x="1752" y="34"/>
                    <a:pt x="2058" y="23"/>
                  </a:cubicBezTo>
                  <a:cubicBezTo>
                    <a:pt x="2197" y="28"/>
                    <a:pt x="2338" y="13"/>
                    <a:pt x="2478" y="32"/>
                  </a:cubicBezTo>
                  <a:cubicBezTo>
                    <a:pt x="2266" y="26"/>
                    <a:pt x="2053" y="26"/>
                    <a:pt x="1841" y="37"/>
                  </a:cubicBezTo>
                  <a:cubicBezTo>
                    <a:pt x="1227" y="38"/>
                    <a:pt x="614" y="39"/>
                    <a:pt x="0" y="38"/>
                  </a:cubicBezTo>
                  <a:close/>
                </a:path>
              </a:pathLst>
            </a:custGeom>
            <a:solidFill>
              <a:srgbClr val="2526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id="{05770982-E853-4C5A-B772-580DAE4BA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0" y="381"/>
              <a:ext cx="63" cy="18"/>
            </a:xfrm>
            <a:custGeom>
              <a:avLst/>
              <a:gdLst/>
              <a:ahLst/>
              <a:cxnLst>
                <a:cxn ang="0">
                  <a:pos x="184" y="4"/>
                </a:cxn>
                <a:cxn ang="0">
                  <a:pos x="315" y="20"/>
                </a:cxn>
                <a:cxn ang="0">
                  <a:pos x="82" y="93"/>
                </a:cxn>
                <a:cxn ang="0">
                  <a:pos x="0" y="79"/>
                </a:cxn>
                <a:cxn ang="0">
                  <a:pos x="172" y="4"/>
                </a:cxn>
                <a:cxn ang="0">
                  <a:pos x="184" y="4"/>
                </a:cxn>
              </a:cxnLst>
              <a:rect l="0" t="0" r="r" b="b"/>
              <a:pathLst>
                <a:path w="315" h="93">
                  <a:moveTo>
                    <a:pt x="184" y="4"/>
                  </a:moveTo>
                  <a:cubicBezTo>
                    <a:pt x="228" y="9"/>
                    <a:pt x="274" y="0"/>
                    <a:pt x="315" y="20"/>
                  </a:cubicBezTo>
                  <a:cubicBezTo>
                    <a:pt x="236" y="38"/>
                    <a:pt x="158" y="63"/>
                    <a:pt x="82" y="93"/>
                  </a:cubicBezTo>
                  <a:cubicBezTo>
                    <a:pt x="55" y="88"/>
                    <a:pt x="27" y="83"/>
                    <a:pt x="0" y="79"/>
                  </a:cubicBezTo>
                  <a:cubicBezTo>
                    <a:pt x="50" y="39"/>
                    <a:pt x="115" y="28"/>
                    <a:pt x="172" y="4"/>
                  </a:cubicBezTo>
                  <a:lnTo>
                    <a:pt x="184" y="4"/>
                  </a:lnTo>
                </a:path>
              </a:pathLst>
            </a:custGeom>
            <a:solidFill>
              <a:srgbClr val="7F808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0">
              <a:extLst>
                <a:ext uri="{FF2B5EF4-FFF2-40B4-BE49-F238E27FC236}">
                  <a16:creationId xmlns:a16="http://schemas.microsoft.com/office/drawing/2014/main" id="{9F430395-C3BD-4293-BEFF-9969F4376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1" y="380"/>
              <a:ext cx="399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578" y="0"/>
                </a:cxn>
                <a:cxn ang="0">
                  <a:pos x="1987" y="4"/>
                </a:cxn>
                <a:cxn ang="0">
                  <a:pos x="1986" y="72"/>
                </a:cxn>
                <a:cxn ang="0">
                  <a:pos x="422" y="73"/>
                </a:cxn>
                <a:cxn ang="0">
                  <a:pos x="393" y="22"/>
                </a:cxn>
                <a:cxn ang="0">
                  <a:pos x="0" y="9"/>
                </a:cxn>
              </a:cxnLst>
              <a:rect l="0" t="0" r="r" b="b"/>
              <a:pathLst>
                <a:path w="1987" h="75">
                  <a:moveTo>
                    <a:pt x="0" y="9"/>
                  </a:moveTo>
                  <a:cubicBezTo>
                    <a:pt x="192" y="0"/>
                    <a:pt x="385" y="9"/>
                    <a:pt x="578" y="0"/>
                  </a:cubicBezTo>
                  <a:cubicBezTo>
                    <a:pt x="1048" y="6"/>
                    <a:pt x="1517" y="3"/>
                    <a:pt x="1987" y="4"/>
                  </a:cubicBezTo>
                  <a:cubicBezTo>
                    <a:pt x="1987" y="21"/>
                    <a:pt x="1986" y="55"/>
                    <a:pt x="1986" y="72"/>
                  </a:cubicBezTo>
                  <a:cubicBezTo>
                    <a:pt x="1465" y="72"/>
                    <a:pt x="944" y="75"/>
                    <a:pt x="422" y="73"/>
                  </a:cubicBezTo>
                  <a:cubicBezTo>
                    <a:pt x="413" y="56"/>
                    <a:pt x="403" y="39"/>
                    <a:pt x="393" y="22"/>
                  </a:cubicBezTo>
                  <a:cubicBezTo>
                    <a:pt x="262" y="9"/>
                    <a:pt x="131" y="15"/>
                    <a:pt x="0" y="9"/>
                  </a:cubicBezTo>
                </a:path>
              </a:pathLst>
            </a:custGeom>
            <a:solidFill>
              <a:srgbClr val="E7E7E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3BF5BA40-78BA-4169-9ECA-ED1F59158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378"/>
              <a:ext cx="1748" cy="17"/>
            </a:xfrm>
            <a:custGeom>
              <a:avLst/>
              <a:gdLst/>
              <a:ahLst/>
              <a:cxnLst>
                <a:cxn ang="0">
                  <a:pos x="1306" y="15"/>
                </a:cxn>
                <a:cxn ang="0">
                  <a:pos x="1789" y="13"/>
                </a:cxn>
                <a:cxn ang="0">
                  <a:pos x="1998" y="11"/>
                </a:cxn>
                <a:cxn ang="0">
                  <a:pos x="2007" y="11"/>
                </a:cxn>
                <a:cxn ang="0">
                  <a:pos x="2115" y="11"/>
                </a:cxn>
                <a:cxn ang="0">
                  <a:pos x="2124" y="9"/>
                </a:cxn>
                <a:cxn ang="0">
                  <a:pos x="3135" y="13"/>
                </a:cxn>
                <a:cxn ang="0">
                  <a:pos x="5994" y="12"/>
                </a:cxn>
                <a:cxn ang="0">
                  <a:pos x="5995" y="12"/>
                </a:cxn>
                <a:cxn ang="0">
                  <a:pos x="7836" y="11"/>
                </a:cxn>
                <a:cxn ang="0">
                  <a:pos x="8473" y="6"/>
                </a:cxn>
                <a:cxn ang="0">
                  <a:pos x="8493" y="7"/>
                </a:cxn>
                <a:cxn ang="0">
                  <a:pos x="8691" y="14"/>
                </a:cxn>
                <a:cxn ang="0">
                  <a:pos x="8319" y="43"/>
                </a:cxn>
                <a:cxn ang="0">
                  <a:pos x="8243" y="83"/>
                </a:cxn>
                <a:cxn ang="0">
                  <a:pos x="0" y="82"/>
                </a:cxn>
                <a:cxn ang="0">
                  <a:pos x="36" y="15"/>
                </a:cxn>
                <a:cxn ang="0">
                  <a:pos x="1306" y="15"/>
                </a:cxn>
              </a:cxnLst>
              <a:rect l="0" t="0" r="r" b="b"/>
              <a:pathLst>
                <a:path w="8691" h="84">
                  <a:moveTo>
                    <a:pt x="1306" y="15"/>
                  </a:moveTo>
                  <a:cubicBezTo>
                    <a:pt x="1467" y="14"/>
                    <a:pt x="1628" y="18"/>
                    <a:pt x="1789" y="13"/>
                  </a:cubicBezTo>
                  <a:cubicBezTo>
                    <a:pt x="1858" y="14"/>
                    <a:pt x="1928" y="14"/>
                    <a:pt x="1998" y="11"/>
                  </a:cubicBezTo>
                  <a:lnTo>
                    <a:pt x="2007" y="11"/>
                  </a:lnTo>
                  <a:cubicBezTo>
                    <a:pt x="2043" y="15"/>
                    <a:pt x="2079" y="18"/>
                    <a:pt x="2115" y="11"/>
                  </a:cubicBezTo>
                  <a:lnTo>
                    <a:pt x="2124" y="9"/>
                  </a:lnTo>
                  <a:cubicBezTo>
                    <a:pt x="2461" y="15"/>
                    <a:pt x="2798" y="11"/>
                    <a:pt x="3135" y="13"/>
                  </a:cubicBezTo>
                  <a:cubicBezTo>
                    <a:pt x="4088" y="12"/>
                    <a:pt x="5041" y="14"/>
                    <a:pt x="5994" y="12"/>
                  </a:cubicBezTo>
                  <a:lnTo>
                    <a:pt x="5995" y="12"/>
                  </a:lnTo>
                  <a:cubicBezTo>
                    <a:pt x="6609" y="13"/>
                    <a:pt x="7222" y="12"/>
                    <a:pt x="7836" y="11"/>
                  </a:cubicBezTo>
                  <a:cubicBezTo>
                    <a:pt x="8048" y="0"/>
                    <a:pt x="8261" y="0"/>
                    <a:pt x="8473" y="6"/>
                  </a:cubicBezTo>
                  <a:cubicBezTo>
                    <a:pt x="8478" y="6"/>
                    <a:pt x="8488" y="7"/>
                    <a:pt x="8493" y="7"/>
                  </a:cubicBezTo>
                  <a:cubicBezTo>
                    <a:pt x="8559" y="12"/>
                    <a:pt x="8625" y="11"/>
                    <a:pt x="8691" y="14"/>
                  </a:cubicBezTo>
                  <a:cubicBezTo>
                    <a:pt x="8568" y="36"/>
                    <a:pt x="8441" y="14"/>
                    <a:pt x="8319" y="43"/>
                  </a:cubicBezTo>
                  <a:cubicBezTo>
                    <a:pt x="8289" y="46"/>
                    <a:pt x="8265" y="65"/>
                    <a:pt x="8243" y="83"/>
                  </a:cubicBezTo>
                  <a:cubicBezTo>
                    <a:pt x="5495" y="84"/>
                    <a:pt x="2748" y="82"/>
                    <a:pt x="0" y="82"/>
                  </a:cubicBezTo>
                  <a:cubicBezTo>
                    <a:pt x="12" y="60"/>
                    <a:pt x="24" y="38"/>
                    <a:pt x="36" y="15"/>
                  </a:cubicBezTo>
                  <a:cubicBezTo>
                    <a:pt x="459" y="15"/>
                    <a:pt x="882" y="16"/>
                    <a:pt x="1306" y="15"/>
                  </a:cubicBezTo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2">
              <a:extLst>
                <a:ext uri="{FF2B5EF4-FFF2-40B4-BE49-F238E27FC236}">
                  <a16:creationId xmlns:a16="http://schemas.microsoft.com/office/drawing/2014/main" id="{14C57A47-8471-4393-8533-76D4485AB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6" y="382"/>
              <a:ext cx="250" cy="142"/>
            </a:xfrm>
            <a:custGeom>
              <a:avLst/>
              <a:gdLst/>
              <a:ahLst/>
              <a:cxnLst>
                <a:cxn ang="0">
                  <a:pos x="681" y="14"/>
                </a:cxn>
                <a:cxn ang="0">
                  <a:pos x="818" y="0"/>
                </a:cxn>
                <a:cxn ang="0">
                  <a:pos x="1211" y="13"/>
                </a:cxn>
                <a:cxn ang="0">
                  <a:pos x="1240" y="64"/>
                </a:cxn>
                <a:cxn ang="0">
                  <a:pos x="384" y="202"/>
                </a:cxn>
                <a:cxn ang="0">
                  <a:pos x="61" y="704"/>
                </a:cxn>
                <a:cxn ang="0">
                  <a:pos x="43" y="647"/>
                </a:cxn>
                <a:cxn ang="0">
                  <a:pos x="0" y="658"/>
                </a:cxn>
                <a:cxn ang="0">
                  <a:pos x="288" y="182"/>
                </a:cxn>
                <a:cxn ang="0">
                  <a:pos x="448" y="87"/>
                </a:cxn>
                <a:cxn ang="0">
                  <a:pos x="681" y="14"/>
                </a:cxn>
              </a:cxnLst>
              <a:rect l="0" t="0" r="r" b="b"/>
              <a:pathLst>
                <a:path w="1240" h="704">
                  <a:moveTo>
                    <a:pt x="681" y="14"/>
                  </a:moveTo>
                  <a:cubicBezTo>
                    <a:pt x="727" y="12"/>
                    <a:pt x="772" y="4"/>
                    <a:pt x="818" y="0"/>
                  </a:cubicBezTo>
                  <a:cubicBezTo>
                    <a:pt x="949" y="6"/>
                    <a:pt x="1080" y="0"/>
                    <a:pt x="1211" y="13"/>
                  </a:cubicBezTo>
                  <a:cubicBezTo>
                    <a:pt x="1221" y="30"/>
                    <a:pt x="1231" y="47"/>
                    <a:pt x="1240" y="64"/>
                  </a:cubicBezTo>
                  <a:cubicBezTo>
                    <a:pt x="953" y="65"/>
                    <a:pt x="640" y="44"/>
                    <a:pt x="384" y="202"/>
                  </a:cubicBezTo>
                  <a:cubicBezTo>
                    <a:pt x="203" y="306"/>
                    <a:pt x="102" y="506"/>
                    <a:pt x="61" y="704"/>
                  </a:cubicBezTo>
                  <a:cubicBezTo>
                    <a:pt x="55" y="685"/>
                    <a:pt x="48" y="666"/>
                    <a:pt x="43" y="647"/>
                  </a:cubicBezTo>
                  <a:cubicBezTo>
                    <a:pt x="29" y="650"/>
                    <a:pt x="15" y="654"/>
                    <a:pt x="0" y="658"/>
                  </a:cubicBezTo>
                  <a:cubicBezTo>
                    <a:pt x="40" y="474"/>
                    <a:pt x="134" y="295"/>
                    <a:pt x="288" y="182"/>
                  </a:cubicBezTo>
                  <a:cubicBezTo>
                    <a:pt x="338" y="147"/>
                    <a:pt x="391" y="112"/>
                    <a:pt x="448" y="87"/>
                  </a:cubicBezTo>
                  <a:cubicBezTo>
                    <a:pt x="524" y="57"/>
                    <a:pt x="602" y="32"/>
                    <a:pt x="681" y="14"/>
                  </a:cubicBezTo>
                  <a:close/>
                </a:path>
              </a:pathLst>
            </a:custGeom>
            <a:solidFill>
              <a:srgbClr val="D2D2D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3">
              <a:extLst>
                <a:ext uri="{FF2B5EF4-FFF2-40B4-BE49-F238E27FC236}">
                  <a16:creationId xmlns:a16="http://schemas.microsoft.com/office/drawing/2014/main" id="{1CEB1533-051C-4702-B601-F4058AEF3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" y="380"/>
              <a:ext cx="925" cy="15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2349" y="3"/>
                </a:cxn>
                <a:cxn ang="0">
                  <a:pos x="4601" y="4"/>
                </a:cxn>
                <a:cxn ang="0">
                  <a:pos x="4565" y="71"/>
                </a:cxn>
                <a:cxn ang="0">
                  <a:pos x="0" y="71"/>
                </a:cxn>
                <a:cxn ang="0">
                  <a:pos x="1" y="3"/>
                </a:cxn>
              </a:cxnLst>
              <a:rect l="0" t="0" r="r" b="b"/>
              <a:pathLst>
                <a:path w="4601" h="71">
                  <a:moveTo>
                    <a:pt x="1" y="3"/>
                  </a:moveTo>
                  <a:cubicBezTo>
                    <a:pt x="784" y="0"/>
                    <a:pt x="1567" y="4"/>
                    <a:pt x="2349" y="3"/>
                  </a:cubicBezTo>
                  <a:cubicBezTo>
                    <a:pt x="3100" y="4"/>
                    <a:pt x="3851" y="1"/>
                    <a:pt x="4601" y="4"/>
                  </a:cubicBezTo>
                  <a:cubicBezTo>
                    <a:pt x="4589" y="27"/>
                    <a:pt x="4577" y="49"/>
                    <a:pt x="4565" y="71"/>
                  </a:cubicBezTo>
                  <a:cubicBezTo>
                    <a:pt x="3044" y="71"/>
                    <a:pt x="1522" y="71"/>
                    <a:pt x="0" y="71"/>
                  </a:cubicBezTo>
                  <a:cubicBezTo>
                    <a:pt x="0" y="54"/>
                    <a:pt x="1" y="20"/>
                    <a:pt x="1" y="3"/>
                  </a:cubicBezTo>
                </a:path>
              </a:pathLst>
            </a:custGeom>
            <a:solidFill>
              <a:srgbClr val="D7D7D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4">
              <a:extLst>
                <a:ext uri="{FF2B5EF4-FFF2-40B4-BE49-F238E27FC236}">
                  <a16:creationId xmlns:a16="http://schemas.microsoft.com/office/drawing/2014/main" id="{11B916ED-62D3-47C8-99D0-20B401717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" y="381"/>
              <a:ext cx="253" cy="117"/>
            </a:xfrm>
            <a:custGeom>
              <a:avLst/>
              <a:gdLst/>
              <a:ahLst/>
              <a:cxnLst>
                <a:cxn ang="0">
                  <a:pos x="76" y="29"/>
                </a:cxn>
                <a:cxn ang="0">
                  <a:pos x="448" y="0"/>
                </a:cxn>
                <a:cxn ang="0">
                  <a:pos x="780" y="64"/>
                </a:cxn>
                <a:cxn ang="0">
                  <a:pos x="1258" y="578"/>
                </a:cxn>
                <a:cxn ang="0">
                  <a:pos x="1184" y="584"/>
                </a:cxn>
                <a:cxn ang="0">
                  <a:pos x="811" y="159"/>
                </a:cxn>
                <a:cxn ang="0">
                  <a:pos x="0" y="69"/>
                </a:cxn>
                <a:cxn ang="0">
                  <a:pos x="76" y="29"/>
                </a:cxn>
              </a:cxnLst>
              <a:rect l="0" t="0" r="r" b="b"/>
              <a:pathLst>
                <a:path w="1258" h="584">
                  <a:moveTo>
                    <a:pt x="76" y="29"/>
                  </a:moveTo>
                  <a:cubicBezTo>
                    <a:pt x="198" y="0"/>
                    <a:pt x="325" y="22"/>
                    <a:pt x="448" y="0"/>
                  </a:cubicBezTo>
                  <a:cubicBezTo>
                    <a:pt x="561" y="3"/>
                    <a:pt x="672" y="30"/>
                    <a:pt x="780" y="64"/>
                  </a:cubicBezTo>
                  <a:cubicBezTo>
                    <a:pt x="1008" y="147"/>
                    <a:pt x="1194" y="343"/>
                    <a:pt x="1258" y="578"/>
                  </a:cubicBezTo>
                  <a:cubicBezTo>
                    <a:pt x="1233" y="580"/>
                    <a:pt x="1208" y="582"/>
                    <a:pt x="1184" y="584"/>
                  </a:cubicBezTo>
                  <a:cubicBezTo>
                    <a:pt x="1129" y="396"/>
                    <a:pt x="990" y="237"/>
                    <a:pt x="811" y="159"/>
                  </a:cubicBezTo>
                  <a:cubicBezTo>
                    <a:pt x="557" y="43"/>
                    <a:pt x="270" y="76"/>
                    <a:pt x="0" y="69"/>
                  </a:cubicBezTo>
                  <a:cubicBezTo>
                    <a:pt x="22" y="51"/>
                    <a:pt x="46" y="32"/>
                    <a:pt x="76" y="29"/>
                  </a:cubicBezTo>
                </a:path>
              </a:pathLst>
            </a:custGeom>
            <a:solidFill>
              <a:srgbClr val="EFEFE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5">
              <a:extLst>
                <a:ext uri="{FF2B5EF4-FFF2-40B4-BE49-F238E27FC236}">
                  <a16:creationId xmlns:a16="http://schemas.microsoft.com/office/drawing/2014/main" id="{5A74956C-491D-4788-BF73-9237D688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3" y="388"/>
              <a:ext cx="115" cy="247"/>
            </a:xfrm>
            <a:custGeom>
              <a:avLst/>
              <a:gdLst/>
              <a:ahLst/>
              <a:cxnLst>
                <a:cxn ang="0">
                  <a:pos x="0" y="30"/>
                </a:cxn>
                <a:cxn ang="0">
                  <a:pos x="51" y="5"/>
                </a:cxn>
                <a:cxn ang="0">
                  <a:pos x="61" y="0"/>
                </a:cxn>
                <a:cxn ang="0">
                  <a:pos x="153" y="51"/>
                </a:cxn>
                <a:cxn ang="0">
                  <a:pos x="493" y="444"/>
                </a:cxn>
                <a:cxn ang="0">
                  <a:pos x="564" y="724"/>
                </a:cxn>
                <a:cxn ang="0">
                  <a:pos x="569" y="835"/>
                </a:cxn>
                <a:cxn ang="0">
                  <a:pos x="554" y="1227"/>
                </a:cxn>
                <a:cxn ang="0">
                  <a:pos x="538" y="1069"/>
                </a:cxn>
                <a:cxn ang="0">
                  <a:pos x="478" y="544"/>
                </a:cxn>
                <a:cxn ang="0">
                  <a:pos x="0" y="30"/>
                </a:cxn>
              </a:cxnLst>
              <a:rect l="0" t="0" r="r" b="b"/>
              <a:pathLst>
                <a:path w="573" h="1227">
                  <a:moveTo>
                    <a:pt x="0" y="30"/>
                  </a:moveTo>
                  <a:cubicBezTo>
                    <a:pt x="13" y="23"/>
                    <a:pt x="39" y="11"/>
                    <a:pt x="51" y="5"/>
                  </a:cubicBezTo>
                  <a:lnTo>
                    <a:pt x="61" y="0"/>
                  </a:lnTo>
                  <a:cubicBezTo>
                    <a:pt x="86" y="25"/>
                    <a:pt x="122" y="33"/>
                    <a:pt x="153" y="51"/>
                  </a:cubicBezTo>
                  <a:cubicBezTo>
                    <a:pt x="307" y="137"/>
                    <a:pt x="429" y="279"/>
                    <a:pt x="493" y="444"/>
                  </a:cubicBezTo>
                  <a:cubicBezTo>
                    <a:pt x="528" y="534"/>
                    <a:pt x="547" y="629"/>
                    <a:pt x="564" y="724"/>
                  </a:cubicBezTo>
                  <a:cubicBezTo>
                    <a:pt x="568" y="761"/>
                    <a:pt x="573" y="798"/>
                    <a:pt x="569" y="835"/>
                  </a:cubicBezTo>
                  <a:cubicBezTo>
                    <a:pt x="540" y="963"/>
                    <a:pt x="562" y="1097"/>
                    <a:pt x="554" y="1227"/>
                  </a:cubicBezTo>
                  <a:cubicBezTo>
                    <a:pt x="554" y="1174"/>
                    <a:pt x="550" y="1121"/>
                    <a:pt x="538" y="1069"/>
                  </a:cubicBezTo>
                  <a:cubicBezTo>
                    <a:pt x="540" y="892"/>
                    <a:pt x="529" y="714"/>
                    <a:pt x="478" y="544"/>
                  </a:cubicBezTo>
                  <a:cubicBezTo>
                    <a:pt x="414" y="309"/>
                    <a:pt x="228" y="113"/>
                    <a:pt x="0" y="30"/>
                  </a:cubicBezTo>
                </a:path>
              </a:pathLst>
            </a:custGeom>
            <a:solidFill>
              <a:srgbClr val="0F0F1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">
              <a:extLst>
                <a:ext uri="{FF2B5EF4-FFF2-40B4-BE49-F238E27FC236}">
                  <a16:creationId xmlns:a16="http://schemas.microsoft.com/office/drawing/2014/main" id="{AC0A89D0-A5EA-426E-8A4C-3D6461BA0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390"/>
              <a:ext cx="3387" cy="2642"/>
            </a:xfrm>
            <a:custGeom>
              <a:avLst/>
              <a:gdLst/>
              <a:ahLst/>
              <a:cxnLst>
                <a:cxn ang="0">
                  <a:pos x="368" y="164"/>
                </a:cxn>
                <a:cxn ang="0">
                  <a:pos x="1224" y="26"/>
                </a:cxn>
                <a:cxn ang="0">
                  <a:pos x="2788" y="25"/>
                </a:cxn>
                <a:cxn ang="0">
                  <a:pos x="7353" y="25"/>
                </a:cxn>
                <a:cxn ang="0">
                  <a:pos x="15596" y="26"/>
                </a:cxn>
                <a:cxn ang="0">
                  <a:pos x="16407" y="116"/>
                </a:cxn>
                <a:cxn ang="0">
                  <a:pos x="16780" y="541"/>
                </a:cxn>
                <a:cxn ang="0">
                  <a:pos x="16835" y="918"/>
                </a:cxn>
                <a:cxn ang="0">
                  <a:pos x="16835" y="1664"/>
                </a:cxn>
                <a:cxn ang="0">
                  <a:pos x="16835" y="3521"/>
                </a:cxn>
                <a:cxn ang="0">
                  <a:pos x="16835" y="12085"/>
                </a:cxn>
                <a:cxn ang="0">
                  <a:pos x="16821" y="12450"/>
                </a:cxn>
                <a:cxn ang="0">
                  <a:pos x="16694" y="12794"/>
                </a:cxn>
                <a:cxn ang="0">
                  <a:pos x="16338" y="13068"/>
                </a:cxn>
                <a:cxn ang="0">
                  <a:pos x="16104" y="13122"/>
                </a:cxn>
                <a:cxn ang="0">
                  <a:pos x="14827" y="13124"/>
                </a:cxn>
                <a:cxn ang="0">
                  <a:pos x="7068" y="13124"/>
                </a:cxn>
                <a:cxn ang="0">
                  <a:pos x="3631" y="13125"/>
                </a:cxn>
                <a:cxn ang="0">
                  <a:pos x="2814" y="13125"/>
                </a:cxn>
                <a:cxn ang="0">
                  <a:pos x="1321" y="13124"/>
                </a:cxn>
                <a:cxn ang="0">
                  <a:pos x="627" y="13089"/>
                </a:cxn>
                <a:cxn ang="0">
                  <a:pos x="180" y="12809"/>
                </a:cxn>
                <a:cxn ang="0">
                  <a:pos x="48" y="12495"/>
                </a:cxn>
                <a:cxn ang="0">
                  <a:pos x="19" y="12166"/>
                </a:cxn>
                <a:cxn ang="0">
                  <a:pos x="24" y="11001"/>
                </a:cxn>
                <a:cxn ang="0">
                  <a:pos x="23" y="9767"/>
                </a:cxn>
                <a:cxn ang="0">
                  <a:pos x="20" y="9335"/>
                </a:cxn>
                <a:cxn ang="0">
                  <a:pos x="18" y="9088"/>
                </a:cxn>
                <a:cxn ang="0">
                  <a:pos x="19" y="8850"/>
                </a:cxn>
                <a:cxn ang="0">
                  <a:pos x="19" y="5734"/>
                </a:cxn>
                <a:cxn ang="0">
                  <a:pos x="22" y="4917"/>
                </a:cxn>
                <a:cxn ang="0">
                  <a:pos x="19" y="4533"/>
                </a:cxn>
                <a:cxn ang="0">
                  <a:pos x="18" y="3966"/>
                </a:cxn>
                <a:cxn ang="0">
                  <a:pos x="18" y="2284"/>
                </a:cxn>
                <a:cxn ang="0">
                  <a:pos x="20" y="1883"/>
                </a:cxn>
                <a:cxn ang="0">
                  <a:pos x="45" y="666"/>
                </a:cxn>
                <a:cxn ang="0">
                  <a:pos x="368" y="164"/>
                </a:cxn>
              </a:cxnLst>
              <a:rect l="0" t="0" r="r" b="b"/>
              <a:pathLst>
                <a:path w="16844" h="13137">
                  <a:moveTo>
                    <a:pt x="368" y="164"/>
                  </a:moveTo>
                  <a:cubicBezTo>
                    <a:pt x="624" y="6"/>
                    <a:pt x="937" y="27"/>
                    <a:pt x="1224" y="26"/>
                  </a:cubicBezTo>
                  <a:cubicBezTo>
                    <a:pt x="1746" y="28"/>
                    <a:pt x="2267" y="25"/>
                    <a:pt x="2788" y="25"/>
                  </a:cubicBezTo>
                  <a:cubicBezTo>
                    <a:pt x="4310" y="25"/>
                    <a:pt x="5832" y="25"/>
                    <a:pt x="7353" y="25"/>
                  </a:cubicBezTo>
                  <a:cubicBezTo>
                    <a:pt x="10101" y="25"/>
                    <a:pt x="12848" y="27"/>
                    <a:pt x="15596" y="26"/>
                  </a:cubicBezTo>
                  <a:cubicBezTo>
                    <a:pt x="15866" y="33"/>
                    <a:pt x="16153" y="0"/>
                    <a:pt x="16407" y="116"/>
                  </a:cubicBezTo>
                  <a:cubicBezTo>
                    <a:pt x="16586" y="194"/>
                    <a:pt x="16725" y="353"/>
                    <a:pt x="16780" y="541"/>
                  </a:cubicBezTo>
                  <a:cubicBezTo>
                    <a:pt x="16816" y="663"/>
                    <a:pt x="16837" y="790"/>
                    <a:pt x="16835" y="918"/>
                  </a:cubicBezTo>
                  <a:cubicBezTo>
                    <a:pt x="16835" y="1167"/>
                    <a:pt x="16835" y="1416"/>
                    <a:pt x="16835" y="1664"/>
                  </a:cubicBezTo>
                  <a:cubicBezTo>
                    <a:pt x="16835" y="2283"/>
                    <a:pt x="16835" y="2902"/>
                    <a:pt x="16835" y="3521"/>
                  </a:cubicBezTo>
                  <a:cubicBezTo>
                    <a:pt x="16835" y="6376"/>
                    <a:pt x="16835" y="9230"/>
                    <a:pt x="16835" y="12085"/>
                  </a:cubicBezTo>
                  <a:cubicBezTo>
                    <a:pt x="16832" y="12206"/>
                    <a:pt x="16844" y="12330"/>
                    <a:pt x="16821" y="12450"/>
                  </a:cubicBezTo>
                  <a:cubicBezTo>
                    <a:pt x="16801" y="12571"/>
                    <a:pt x="16761" y="12690"/>
                    <a:pt x="16694" y="12794"/>
                  </a:cubicBezTo>
                  <a:cubicBezTo>
                    <a:pt x="16610" y="12922"/>
                    <a:pt x="16484" y="13021"/>
                    <a:pt x="16338" y="13068"/>
                  </a:cubicBezTo>
                  <a:cubicBezTo>
                    <a:pt x="16263" y="13097"/>
                    <a:pt x="16183" y="13107"/>
                    <a:pt x="16104" y="13122"/>
                  </a:cubicBezTo>
                  <a:cubicBezTo>
                    <a:pt x="15678" y="13127"/>
                    <a:pt x="15253" y="13122"/>
                    <a:pt x="14827" y="13124"/>
                  </a:cubicBezTo>
                  <a:cubicBezTo>
                    <a:pt x="12240" y="13123"/>
                    <a:pt x="9654" y="13125"/>
                    <a:pt x="7068" y="13124"/>
                  </a:cubicBezTo>
                  <a:cubicBezTo>
                    <a:pt x="5922" y="13124"/>
                    <a:pt x="4776" y="13124"/>
                    <a:pt x="3631" y="13125"/>
                  </a:cubicBezTo>
                  <a:cubicBezTo>
                    <a:pt x="3358" y="13124"/>
                    <a:pt x="3086" y="13123"/>
                    <a:pt x="2814" y="13125"/>
                  </a:cubicBezTo>
                  <a:cubicBezTo>
                    <a:pt x="2316" y="13123"/>
                    <a:pt x="1819" y="13124"/>
                    <a:pt x="1321" y="13124"/>
                  </a:cubicBezTo>
                  <a:cubicBezTo>
                    <a:pt x="1089" y="13122"/>
                    <a:pt x="855" y="13137"/>
                    <a:pt x="627" y="13089"/>
                  </a:cubicBezTo>
                  <a:cubicBezTo>
                    <a:pt x="452" y="13052"/>
                    <a:pt x="280" y="12962"/>
                    <a:pt x="180" y="12809"/>
                  </a:cubicBezTo>
                  <a:cubicBezTo>
                    <a:pt x="113" y="12716"/>
                    <a:pt x="74" y="12606"/>
                    <a:pt x="48" y="12495"/>
                  </a:cubicBezTo>
                  <a:cubicBezTo>
                    <a:pt x="24" y="12387"/>
                    <a:pt x="30" y="12276"/>
                    <a:pt x="19" y="12166"/>
                  </a:cubicBezTo>
                  <a:cubicBezTo>
                    <a:pt x="19" y="11778"/>
                    <a:pt x="15" y="11389"/>
                    <a:pt x="24" y="11001"/>
                  </a:cubicBezTo>
                  <a:cubicBezTo>
                    <a:pt x="24" y="10590"/>
                    <a:pt x="24" y="10178"/>
                    <a:pt x="23" y="9767"/>
                  </a:cubicBezTo>
                  <a:cubicBezTo>
                    <a:pt x="8" y="9623"/>
                    <a:pt x="34" y="9479"/>
                    <a:pt x="20" y="9335"/>
                  </a:cubicBezTo>
                  <a:cubicBezTo>
                    <a:pt x="16" y="9253"/>
                    <a:pt x="19" y="9170"/>
                    <a:pt x="18" y="9088"/>
                  </a:cubicBezTo>
                  <a:cubicBezTo>
                    <a:pt x="22" y="9009"/>
                    <a:pt x="24" y="8930"/>
                    <a:pt x="19" y="8850"/>
                  </a:cubicBezTo>
                  <a:cubicBezTo>
                    <a:pt x="18" y="7812"/>
                    <a:pt x="18" y="6772"/>
                    <a:pt x="19" y="5734"/>
                  </a:cubicBezTo>
                  <a:cubicBezTo>
                    <a:pt x="20" y="5462"/>
                    <a:pt x="15" y="5189"/>
                    <a:pt x="22" y="4917"/>
                  </a:cubicBezTo>
                  <a:cubicBezTo>
                    <a:pt x="10" y="4789"/>
                    <a:pt x="29" y="4661"/>
                    <a:pt x="19" y="4533"/>
                  </a:cubicBezTo>
                  <a:cubicBezTo>
                    <a:pt x="13" y="4344"/>
                    <a:pt x="28" y="4155"/>
                    <a:pt x="18" y="3966"/>
                  </a:cubicBezTo>
                  <a:cubicBezTo>
                    <a:pt x="19" y="3405"/>
                    <a:pt x="17" y="2845"/>
                    <a:pt x="18" y="2284"/>
                  </a:cubicBezTo>
                  <a:cubicBezTo>
                    <a:pt x="16" y="2150"/>
                    <a:pt x="32" y="2017"/>
                    <a:pt x="20" y="1883"/>
                  </a:cubicBezTo>
                  <a:cubicBezTo>
                    <a:pt x="39" y="1478"/>
                    <a:pt x="0" y="1070"/>
                    <a:pt x="45" y="666"/>
                  </a:cubicBezTo>
                  <a:cubicBezTo>
                    <a:pt x="86" y="468"/>
                    <a:pt x="187" y="268"/>
                    <a:pt x="368" y="164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7">
              <a:extLst>
                <a:ext uri="{FF2B5EF4-FFF2-40B4-BE49-F238E27FC236}">
                  <a16:creationId xmlns:a16="http://schemas.microsoft.com/office/drawing/2014/main" id="{87D97FEB-F44A-451D-A62A-0198F291B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7" y="397"/>
              <a:ext cx="39" cy="22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113" y="0"/>
                </a:cxn>
                <a:cxn ang="0">
                  <a:pos x="195" y="14"/>
                </a:cxn>
                <a:cxn ang="0">
                  <a:pos x="35" y="109"/>
                </a:cxn>
                <a:cxn ang="0">
                  <a:pos x="0" y="68"/>
                </a:cxn>
              </a:cxnLst>
              <a:rect l="0" t="0" r="r" b="b"/>
              <a:pathLst>
                <a:path w="195" h="109">
                  <a:moveTo>
                    <a:pt x="0" y="68"/>
                  </a:moveTo>
                  <a:cubicBezTo>
                    <a:pt x="37" y="43"/>
                    <a:pt x="72" y="15"/>
                    <a:pt x="113" y="0"/>
                  </a:cubicBezTo>
                  <a:cubicBezTo>
                    <a:pt x="140" y="4"/>
                    <a:pt x="168" y="9"/>
                    <a:pt x="195" y="14"/>
                  </a:cubicBezTo>
                  <a:cubicBezTo>
                    <a:pt x="138" y="39"/>
                    <a:pt x="85" y="74"/>
                    <a:pt x="35" y="109"/>
                  </a:cubicBezTo>
                  <a:cubicBezTo>
                    <a:pt x="29" y="91"/>
                    <a:pt x="18" y="77"/>
                    <a:pt x="0" y="68"/>
                  </a:cubicBezTo>
                </a:path>
              </a:pathLst>
            </a:custGeom>
            <a:solidFill>
              <a:srgbClr val="585A5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8">
              <a:extLst>
                <a:ext uri="{FF2B5EF4-FFF2-40B4-BE49-F238E27FC236}">
                  <a16:creationId xmlns:a16="http://schemas.microsoft.com/office/drawing/2014/main" id="{5235F1E9-99CD-4356-BD48-4FE95A05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410"/>
              <a:ext cx="72" cy="182"/>
            </a:xfrm>
            <a:custGeom>
              <a:avLst/>
              <a:gdLst/>
              <a:ahLst/>
              <a:cxnLst>
                <a:cxn ang="0">
                  <a:pos x="61" y="366"/>
                </a:cxn>
                <a:cxn ang="0">
                  <a:pos x="324" y="0"/>
                </a:cxn>
                <a:cxn ang="0">
                  <a:pos x="359" y="41"/>
                </a:cxn>
                <a:cxn ang="0">
                  <a:pos x="71" y="517"/>
                </a:cxn>
                <a:cxn ang="0">
                  <a:pos x="34" y="773"/>
                </a:cxn>
                <a:cxn ang="0">
                  <a:pos x="13" y="901"/>
                </a:cxn>
                <a:cxn ang="0">
                  <a:pos x="15" y="628"/>
                </a:cxn>
                <a:cxn ang="0">
                  <a:pos x="3" y="610"/>
                </a:cxn>
                <a:cxn ang="0">
                  <a:pos x="0" y="606"/>
                </a:cxn>
                <a:cxn ang="0">
                  <a:pos x="15" y="607"/>
                </a:cxn>
                <a:cxn ang="0">
                  <a:pos x="61" y="366"/>
                </a:cxn>
              </a:cxnLst>
              <a:rect l="0" t="0" r="r" b="b"/>
              <a:pathLst>
                <a:path w="359" h="901">
                  <a:moveTo>
                    <a:pt x="61" y="366"/>
                  </a:moveTo>
                  <a:cubicBezTo>
                    <a:pt x="111" y="221"/>
                    <a:pt x="207" y="97"/>
                    <a:pt x="324" y="0"/>
                  </a:cubicBezTo>
                  <a:cubicBezTo>
                    <a:pt x="342" y="9"/>
                    <a:pt x="353" y="23"/>
                    <a:pt x="359" y="41"/>
                  </a:cubicBezTo>
                  <a:cubicBezTo>
                    <a:pt x="205" y="154"/>
                    <a:pt x="111" y="333"/>
                    <a:pt x="71" y="517"/>
                  </a:cubicBezTo>
                  <a:cubicBezTo>
                    <a:pt x="53" y="601"/>
                    <a:pt x="41" y="687"/>
                    <a:pt x="34" y="773"/>
                  </a:cubicBezTo>
                  <a:cubicBezTo>
                    <a:pt x="27" y="816"/>
                    <a:pt x="19" y="858"/>
                    <a:pt x="13" y="901"/>
                  </a:cubicBezTo>
                  <a:cubicBezTo>
                    <a:pt x="18" y="810"/>
                    <a:pt x="22" y="718"/>
                    <a:pt x="15" y="628"/>
                  </a:cubicBezTo>
                  <a:lnTo>
                    <a:pt x="3" y="610"/>
                  </a:lnTo>
                  <a:lnTo>
                    <a:pt x="0" y="606"/>
                  </a:lnTo>
                  <a:lnTo>
                    <a:pt x="15" y="607"/>
                  </a:lnTo>
                  <a:cubicBezTo>
                    <a:pt x="8" y="524"/>
                    <a:pt x="35" y="443"/>
                    <a:pt x="61" y="366"/>
                  </a:cubicBezTo>
                </a:path>
              </a:pathLst>
            </a:custGeom>
            <a:solidFill>
              <a:srgbClr val="0404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9">
              <a:extLst>
                <a:ext uri="{FF2B5EF4-FFF2-40B4-BE49-F238E27FC236}">
                  <a16:creationId xmlns:a16="http://schemas.microsoft.com/office/drawing/2014/main" id="{DFC1BCBA-5F0C-45CA-9C65-4CD744C00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" y="497"/>
              <a:ext cx="27" cy="27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4" y="0"/>
                </a:cxn>
                <a:cxn ang="0">
                  <a:pos x="134" y="525"/>
                </a:cxn>
                <a:cxn ang="0">
                  <a:pos x="133" y="911"/>
                </a:cxn>
                <a:cxn ang="0">
                  <a:pos x="125" y="1340"/>
                </a:cxn>
                <a:cxn ang="0">
                  <a:pos x="105" y="1139"/>
                </a:cxn>
                <a:cxn ang="0">
                  <a:pos x="55" y="1129"/>
                </a:cxn>
                <a:cxn ang="0">
                  <a:pos x="55" y="383"/>
                </a:cxn>
                <a:cxn ang="0">
                  <a:pos x="0" y="6"/>
                </a:cxn>
              </a:cxnLst>
              <a:rect l="0" t="0" r="r" b="b"/>
              <a:pathLst>
                <a:path w="136" h="1340">
                  <a:moveTo>
                    <a:pt x="0" y="6"/>
                  </a:moveTo>
                  <a:cubicBezTo>
                    <a:pt x="24" y="4"/>
                    <a:pt x="49" y="2"/>
                    <a:pt x="74" y="0"/>
                  </a:cubicBezTo>
                  <a:cubicBezTo>
                    <a:pt x="125" y="170"/>
                    <a:pt x="136" y="348"/>
                    <a:pt x="134" y="525"/>
                  </a:cubicBezTo>
                  <a:cubicBezTo>
                    <a:pt x="130" y="653"/>
                    <a:pt x="133" y="782"/>
                    <a:pt x="133" y="911"/>
                  </a:cubicBezTo>
                  <a:cubicBezTo>
                    <a:pt x="124" y="1054"/>
                    <a:pt x="134" y="1197"/>
                    <a:pt x="125" y="1340"/>
                  </a:cubicBezTo>
                  <a:cubicBezTo>
                    <a:pt x="104" y="1275"/>
                    <a:pt x="108" y="1206"/>
                    <a:pt x="105" y="1139"/>
                  </a:cubicBezTo>
                  <a:cubicBezTo>
                    <a:pt x="92" y="1137"/>
                    <a:pt x="67" y="1132"/>
                    <a:pt x="55" y="1129"/>
                  </a:cubicBezTo>
                  <a:cubicBezTo>
                    <a:pt x="55" y="881"/>
                    <a:pt x="55" y="632"/>
                    <a:pt x="55" y="383"/>
                  </a:cubicBezTo>
                  <a:cubicBezTo>
                    <a:pt x="57" y="255"/>
                    <a:pt x="36" y="128"/>
                    <a:pt x="0" y="6"/>
                  </a:cubicBezTo>
                </a:path>
              </a:pathLst>
            </a:custGeom>
            <a:solidFill>
              <a:srgbClr val="E6E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30">
              <a:extLst>
                <a:ext uri="{FF2B5EF4-FFF2-40B4-BE49-F238E27FC236}">
                  <a16:creationId xmlns:a16="http://schemas.microsoft.com/office/drawing/2014/main" id="{53D3293B-C714-4B65-B711-3D6B72EDE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" y="512"/>
              <a:ext cx="20" cy="342"/>
            </a:xfrm>
            <a:custGeom>
              <a:avLst/>
              <a:gdLst/>
              <a:ahLst/>
              <a:cxnLst>
                <a:cxn ang="0">
                  <a:pos x="38" y="11"/>
                </a:cxn>
                <a:cxn ang="0">
                  <a:pos x="81" y="0"/>
                </a:cxn>
                <a:cxn ang="0">
                  <a:pos x="99" y="57"/>
                </a:cxn>
                <a:cxn ang="0">
                  <a:pos x="74" y="1274"/>
                </a:cxn>
                <a:cxn ang="0">
                  <a:pos x="72" y="1675"/>
                </a:cxn>
                <a:cxn ang="0">
                  <a:pos x="50" y="1701"/>
                </a:cxn>
                <a:cxn ang="0">
                  <a:pos x="5" y="1696"/>
                </a:cxn>
                <a:cxn ang="0">
                  <a:pos x="3" y="717"/>
                </a:cxn>
                <a:cxn ang="0">
                  <a:pos x="1" y="267"/>
                </a:cxn>
                <a:cxn ang="0">
                  <a:pos x="38" y="11"/>
                </a:cxn>
              </a:cxnLst>
              <a:rect l="0" t="0" r="r" b="b"/>
              <a:pathLst>
                <a:path w="99" h="1701">
                  <a:moveTo>
                    <a:pt x="38" y="11"/>
                  </a:moveTo>
                  <a:cubicBezTo>
                    <a:pt x="53" y="7"/>
                    <a:pt x="67" y="3"/>
                    <a:pt x="81" y="0"/>
                  </a:cubicBezTo>
                  <a:cubicBezTo>
                    <a:pt x="86" y="19"/>
                    <a:pt x="93" y="38"/>
                    <a:pt x="99" y="57"/>
                  </a:cubicBezTo>
                  <a:cubicBezTo>
                    <a:pt x="54" y="461"/>
                    <a:pt x="93" y="869"/>
                    <a:pt x="74" y="1274"/>
                  </a:cubicBezTo>
                  <a:cubicBezTo>
                    <a:pt x="86" y="1408"/>
                    <a:pt x="70" y="1541"/>
                    <a:pt x="72" y="1675"/>
                  </a:cubicBezTo>
                  <a:cubicBezTo>
                    <a:pt x="67" y="1681"/>
                    <a:pt x="56" y="1694"/>
                    <a:pt x="50" y="1701"/>
                  </a:cubicBezTo>
                  <a:cubicBezTo>
                    <a:pt x="35" y="1699"/>
                    <a:pt x="20" y="1697"/>
                    <a:pt x="5" y="1696"/>
                  </a:cubicBezTo>
                  <a:cubicBezTo>
                    <a:pt x="1" y="1370"/>
                    <a:pt x="10" y="1043"/>
                    <a:pt x="3" y="717"/>
                  </a:cubicBezTo>
                  <a:cubicBezTo>
                    <a:pt x="0" y="567"/>
                    <a:pt x="17" y="417"/>
                    <a:pt x="1" y="267"/>
                  </a:cubicBezTo>
                  <a:cubicBezTo>
                    <a:pt x="8" y="181"/>
                    <a:pt x="20" y="95"/>
                    <a:pt x="38" y="11"/>
                  </a:cubicBezTo>
                </a:path>
              </a:pathLst>
            </a:custGeom>
            <a:solidFill>
              <a:srgbClr val="E3E3E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31">
              <a:extLst>
                <a:ext uri="{FF2B5EF4-FFF2-40B4-BE49-F238E27FC236}">
                  <a16:creationId xmlns:a16="http://schemas.microsoft.com/office/drawing/2014/main" id="{768ECE02-527A-40C5-97D9-67FC70F8B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533"/>
              <a:ext cx="14" cy="199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36" y="18"/>
                </a:cxn>
                <a:cxn ang="0">
                  <a:pos x="34" y="291"/>
                </a:cxn>
                <a:cxn ang="0">
                  <a:pos x="55" y="163"/>
                </a:cxn>
                <a:cxn ang="0">
                  <a:pos x="57" y="613"/>
                </a:cxn>
                <a:cxn ang="0">
                  <a:pos x="16" y="991"/>
                </a:cxn>
                <a:cxn ang="0">
                  <a:pos x="11" y="581"/>
                </a:cxn>
                <a:cxn ang="0">
                  <a:pos x="12" y="220"/>
                </a:cxn>
                <a:cxn ang="0">
                  <a:pos x="24" y="0"/>
                </a:cxn>
              </a:cxnLst>
              <a:rect l="0" t="0" r="r" b="b"/>
              <a:pathLst>
                <a:path w="71" h="991">
                  <a:moveTo>
                    <a:pt x="24" y="0"/>
                  </a:moveTo>
                  <a:lnTo>
                    <a:pt x="36" y="18"/>
                  </a:lnTo>
                  <a:cubicBezTo>
                    <a:pt x="43" y="108"/>
                    <a:pt x="39" y="200"/>
                    <a:pt x="34" y="291"/>
                  </a:cubicBezTo>
                  <a:cubicBezTo>
                    <a:pt x="40" y="248"/>
                    <a:pt x="48" y="206"/>
                    <a:pt x="55" y="163"/>
                  </a:cubicBezTo>
                  <a:cubicBezTo>
                    <a:pt x="71" y="313"/>
                    <a:pt x="54" y="463"/>
                    <a:pt x="57" y="613"/>
                  </a:cubicBezTo>
                  <a:cubicBezTo>
                    <a:pt x="3" y="733"/>
                    <a:pt x="33" y="866"/>
                    <a:pt x="16" y="991"/>
                  </a:cubicBezTo>
                  <a:cubicBezTo>
                    <a:pt x="8" y="855"/>
                    <a:pt x="16" y="718"/>
                    <a:pt x="11" y="581"/>
                  </a:cubicBezTo>
                  <a:cubicBezTo>
                    <a:pt x="12" y="461"/>
                    <a:pt x="0" y="340"/>
                    <a:pt x="12" y="220"/>
                  </a:cubicBezTo>
                  <a:cubicBezTo>
                    <a:pt x="20" y="147"/>
                    <a:pt x="8" y="72"/>
                    <a:pt x="24" y="0"/>
                  </a:cubicBezTo>
                </a:path>
              </a:pathLst>
            </a:custGeom>
            <a:solidFill>
              <a:srgbClr val="67696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32">
              <a:extLst>
                <a:ext uri="{FF2B5EF4-FFF2-40B4-BE49-F238E27FC236}">
                  <a16:creationId xmlns:a16="http://schemas.microsoft.com/office/drawing/2014/main" id="{D0AEE57D-1184-439C-AD39-FE3698B41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8" y="556"/>
              <a:ext cx="15" cy="328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61" y="398"/>
                </a:cxn>
                <a:cxn ang="0">
                  <a:pos x="49" y="858"/>
                </a:cxn>
                <a:cxn ang="0">
                  <a:pos x="45" y="1632"/>
                </a:cxn>
                <a:cxn ang="0">
                  <a:pos x="17" y="1474"/>
                </a:cxn>
                <a:cxn ang="0">
                  <a:pos x="14" y="620"/>
                </a:cxn>
                <a:cxn ang="0">
                  <a:pos x="15" y="234"/>
                </a:cxn>
                <a:cxn ang="0">
                  <a:pos x="31" y="392"/>
                </a:cxn>
                <a:cxn ang="0">
                  <a:pos x="46" y="0"/>
                </a:cxn>
              </a:cxnLst>
              <a:rect l="0" t="0" r="r" b="b"/>
              <a:pathLst>
                <a:path w="77" h="1632">
                  <a:moveTo>
                    <a:pt x="46" y="0"/>
                  </a:moveTo>
                  <a:cubicBezTo>
                    <a:pt x="77" y="130"/>
                    <a:pt x="61" y="266"/>
                    <a:pt x="61" y="398"/>
                  </a:cubicBezTo>
                  <a:cubicBezTo>
                    <a:pt x="37" y="550"/>
                    <a:pt x="52" y="705"/>
                    <a:pt x="49" y="858"/>
                  </a:cubicBezTo>
                  <a:cubicBezTo>
                    <a:pt x="45" y="1116"/>
                    <a:pt x="50" y="1374"/>
                    <a:pt x="45" y="1632"/>
                  </a:cubicBezTo>
                  <a:cubicBezTo>
                    <a:pt x="0" y="1594"/>
                    <a:pt x="23" y="1526"/>
                    <a:pt x="17" y="1474"/>
                  </a:cubicBezTo>
                  <a:cubicBezTo>
                    <a:pt x="17" y="1190"/>
                    <a:pt x="20" y="905"/>
                    <a:pt x="14" y="620"/>
                  </a:cubicBezTo>
                  <a:cubicBezTo>
                    <a:pt x="14" y="491"/>
                    <a:pt x="11" y="362"/>
                    <a:pt x="15" y="234"/>
                  </a:cubicBezTo>
                  <a:cubicBezTo>
                    <a:pt x="27" y="286"/>
                    <a:pt x="31" y="339"/>
                    <a:pt x="31" y="392"/>
                  </a:cubicBezTo>
                  <a:cubicBezTo>
                    <a:pt x="39" y="262"/>
                    <a:pt x="17" y="128"/>
                    <a:pt x="46" y="0"/>
                  </a:cubicBezTo>
                </a:path>
              </a:pathLst>
            </a:custGeom>
            <a:solidFill>
              <a:srgbClr val="3D3E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33">
              <a:extLst>
                <a:ext uri="{FF2B5EF4-FFF2-40B4-BE49-F238E27FC236}">
                  <a16:creationId xmlns:a16="http://schemas.microsoft.com/office/drawing/2014/main" id="{E457AB7A-8951-46DD-81A0-43B18154A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636"/>
              <a:ext cx="17" cy="2232"/>
            </a:xfrm>
            <a:custGeom>
              <a:avLst/>
              <a:gdLst/>
              <a:ahLst/>
              <a:cxnLst>
                <a:cxn ang="0">
                  <a:pos x="52" y="460"/>
                </a:cxn>
                <a:cxn ang="0">
                  <a:pos x="64" y="0"/>
                </a:cxn>
                <a:cxn ang="0">
                  <a:pos x="74" y="159"/>
                </a:cxn>
                <a:cxn ang="0">
                  <a:pos x="76" y="3527"/>
                </a:cxn>
                <a:cxn ang="0">
                  <a:pos x="71" y="9443"/>
                </a:cxn>
                <a:cxn ang="0">
                  <a:pos x="73" y="10777"/>
                </a:cxn>
                <a:cxn ang="0">
                  <a:pos x="69" y="11074"/>
                </a:cxn>
                <a:cxn ang="0">
                  <a:pos x="55" y="11099"/>
                </a:cxn>
                <a:cxn ang="0">
                  <a:pos x="54" y="9727"/>
                </a:cxn>
                <a:cxn ang="0">
                  <a:pos x="62" y="9327"/>
                </a:cxn>
                <a:cxn ang="0">
                  <a:pos x="53" y="8752"/>
                </a:cxn>
                <a:cxn ang="0">
                  <a:pos x="55" y="6027"/>
                </a:cxn>
                <a:cxn ang="0">
                  <a:pos x="49" y="2860"/>
                </a:cxn>
                <a:cxn ang="0">
                  <a:pos x="49" y="2426"/>
                </a:cxn>
                <a:cxn ang="0">
                  <a:pos x="41" y="2126"/>
                </a:cxn>
                <a:cxn ang="0">
                  <a:pos x="49" y="1726"/>
                </a:cxn>
                <a:cxn ang="0">
                  <a:pos x="37" y="1616"/>
                </a:cxn>
                <a:cxn ang="0">
                  <a:pos x="29" y="2159"/>
                </a:cxn>
                <a:cxn ang="0">
                  <a:pos x="32" y="2643"/>
                </a:cxn>
                <a:cxn ang="0">
                  <a:pos x="17" y="2736"/>
                </a:cxn>
                <a:cxn ang="0">
                  <a:pos x="7" y="2493"/>
                </a:cxn>
                <a:cxn ang="0">
                  <a:pos x="6" y="1954"/>
                </a:cxn>
                <a:cxn ang="0">
                  <a:pos x="11" y="1560"/>
                </a:cxn>
                <a:cxn ang="0">
                  <a:pos x="13" y="1093"/>
                </a:cxn>
                <a:cxn ang="0">
                  <a:pos x="9" y="651"/>
                </a:cxn>
                <a:cxn ang="0">
                  <a:pos x="17" y="222"/>
                </a:cxn>
                <a:cxn ang="0">
                  <a:pos x="20" y="1076"/>
                </a:cxn>
                <a:cxn ang="0">
                  <a:pos x="48" y="1234"/>
                </a:cxn>
                <a:cxn ang="0">
                  <a:pos x="52" y="460"/>
                </a:cxn>
              </a:cxnLst>
              <a:rect l="0" t="0" r="r" b="b"/>
              <a:pathLst>
                <a:path w="83" h="11099">
                  <a:moveTo>
                    <a:pt x="52" y="460"/>
                  </a:moveTo>
                  <a:cubicBezTo>
                    <a:pt x="55" y="307"/>
                    <a:pt x="40" y="152"/>
                    <a:pt x="64" y="0"/>
                  </a:cubicBezTo>
                  <a:cubicBezTo>
                    <a:pt x="83" y="51"/>
                    <a:pt x="72" y="106"/>
                    <a:pt x="74" y="159"/>
                  </a:cubicBezTo>
                  <a:cubicBezTo>
                    <a:pt x="74" y="1282"/>
                    <a:pt x="71" y="2405"/>
                    <a:pt x="76" y="3527"/>
                  </a:cubicBezTo>
                  <a:cubicBezTo>
                    <a:pt x="74" y="5499"/>
                    <a:pt x="81" y="7471"/>
                    <a:pt x="71" y="9443"/>
                  </a:cubicBezTo>
                  <a:cubicBezTo>
                    <a:pt x="78" y="9887"/>
                    <a:pt x="69" y="10332"/>
                    <a:pt x="73" y="10777"/>
                  </a:cubicBezTo>
                  <a:cubicBezTo>
                    <a:pt x="69" y="10876"/>
                    <a:pt x="79" y="10976"/>
                    <a:pt x="69" y="11074"/>
                  </a:cubicBezTo>
                  <a:cubicBezTo>
                    <a:pt x="66" y="11081"/>
                    <a:pt x="59" y="11093"/>
                    <a:pt x="55" y="11099"/>
                  </a:cubicBezTo>
                  <a:cubicBezTo>
                    <a:pt x="44" y="10642"/>
                    <a:pt x="52" y="10184"/>
                    <a:pt x="54" y="9727"/>
                  </a:cubicBezTo>
                  <a:cubicBezTo>
                    <a:pt x="52" y="9593"/>
                    <a:pt x="68" y="9460"/>
                    <a:pt x="62" y="9327"/>
                  </a:cubicBezTo>
                  <a:cubicBezTo>
                    <a:pt x="56" y="9135"/>
                    <a:pt x="75" y="8943"/>
                    <a:pt x="53" y="8752"/>
                  </a:cubicBezTo>
                  <a:cubicBezTo>
                    <a:pt x="55" y="7844"/>
                    <a:pt x="57" y="6935"/>
                    <a:pt x="55" y="6027"/>
                  </a:cubicBezTo>
                  <a:cubicBezTo>
                    <a:pt x="54" y="4971"/>
                    <a:pt x="58" y="3915"/>
                    <a:pt x="49" y="2860"/>
                  </a:cubicBezTo>
                  <a:cubicBezTo>
                    <a:pt x="49" y="2715"/>
                    <a:pt x="47" y="2571"/>
                    <a:pt x="49" y="2426"/>
                  </a:cubicBezTo>
                  <a:cubicBezTo>
                    <a:pt x="51" y="2326"/>
                    <a:pt x="30" y="2226"/>
                    <a:pt x="41" y="2126"/>
                  </a:cubicBezTo>
                  <a:cubicBezTo>
                    <a:pt x="55" y="1993"/>
                    <a:pt x="44" y="1859"/>
                    <a:pt x="49" y="1726"/>
                  </a:cubicBezTo>
                  <a:cubicBezTo>
                    <a:pt x="47" y="1689"/>
                    <a:pt x="54" y="1649"/>
                    <a:pt x="37" y="1616"/>
                  </a:cubicBezTo>
                  <a:cubicBezTo>
                    <a:pt x="23" y="1796"/>
                    <a:pt x="40" y="1978"/>
                    <a:pt x="29" y="2159"/>
                  </a:cubicBezTo>
                  <a:cubicBezTo>
                    <a:pt x="32" y="2321"/>
                    <a:pt x="32" y="2482"/>
                    <a:pt x="32" y="2643"/>
                  </a:cubicBezTo>
                  <a:cubicBezTo>
                    <a:pt x="33" y="2675"/>
                    <a:pt x="26" y="2706"/>
                    <a:pt x="17" y="2736"/>
                  </a:cubicBezTo>
                  <a:cubicBezTo>
                    <a:pt x="0" y="2656"/>
                    <a:pt x="9" y="2574"/>
                    <a:pt x="7" y="2493"/>
                  </a:cubicBezTo>
                  <a:cubicBezTo>
                    <a:pt x="6" y="2313"/>
                    <a:pt x="12" y="2134"/>
                    <a:pt x="6" y="1954"/>
                  </a:cubicBezTo>
                  <a:cubicBezTo>
                    <a:pt x="9" y="1823"/>
                    <a:pt x="4" y="1691"/>
                    <a:pt x="11" y="1560"/>
                  </a:cubicBezTo>
                  <a:cubicBezTo>
                    <a:pt x="18" y="1404"/>
                    <a:pt x="4" y="1249"/>
                    <a:pt x="13" y="1093"/>
                  </a:cubicBezTo>
                  <a:cubicBezTo>
                    <a:pt x="10" y="946"/>
                    <a:pt x="16" y="798"/>
                    <a:pt x="9" y="651"/>
                  </a:cubicBezTo>
                  <a:cubicBezTo>
                    <a:pt x="18" y="508"/>
                    <a:pt x="8" y="365"/>
                    <a:pt x="17" y="222"/>
                  </a:cubicBezTo>
                  <a:cubicBezTo>
                    <a:pt x="23" y="507"/>
                    <a:pt x="20" y="792"/>
                    <a:pt x="20" y="1076"/>
                  </a:cubicBezTo>
                  <a:cubicBezTo>
                    <a:pt x="26" y="1128"/>
                    <a:pt x="3" y="1196"/>
                    <a:pt x="48" y="1234"/>
                  </a:cubicBezTo>
                  <a:cubicBezTo>
                    <a:pt x="53" y="976"/>
                    <a:pt x="48" y="718"/>
                    <a:pt x="52" y="460"/>
                  </a:cubicBezTo>
                </a:path>
              </a:pathLst>
            </a:custGeom>
            <a:solidFill>
              <a:srgbClr val="A6A6A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34">
              <a:extLst>
                <a:ext uri="{FF2B5EF4-FFF2-40B4-BE49-F238E27FC236}">
                  <a16:creationId xmlns:a16="http://schemas.microsoft.com/office/drawing/2014/main" id="{B59C3BCF-F742-46F1-9EC3-4FF4E2019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3" y="650"/>
              <a:ext cx="8" cy="14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35" y="0"/>
                </a:cxn>
                <a:cxn ang="0">
                  <a:pos x="40" y="410"/>
                </a:cxn>
                <a:cxn ang="0">
                  <a:pos x="31" y="704"/>
                </a:cxn>
                <a:cxn ang="0">
                  <a:pos x="0" y="695"/>
                </a:cxn>
                <a:cxn ang="0">
                  <a:pos x="0" y="18"/>
                </a:cxn>
              </a:cxnLst>
              <a:rect l="0" t="0" r="r" b="b"/>
              <a:pathLst>
                <a:path w="41" h="704">
                  <a:moveTo>
                    <a:pt x="0" y="18"/>
                  </a:moveTo>
                  <a:cubicBezTo>
                    <a:pt x="9" y="14"/>
                    <a:pt x="26" y="5"/>
                    <a:pt x="35" y="0"/>
                  </a:cubicBezTo>
                  <a:cubicBezTo>
                    <a:pt x="40" y="137"/>
                    <a:pt x="32" y="274"/>
                    <a:pt x="40" y="410"/>
                  </a:cubicBezTo>
                  <a:cubicBezTo>
                    <a:pt x="41" y="508"/>
                    <a:pt x="37" y="606"/>
                    <a:pt x="31" y="704"/>
                  </a:cubicBezTo>
                  <a:cubicBezTo>
                    <a:pt x="23" y="702"/>
                    <a:pt x="8" y="697"/>
                    <a:pt x="0" y="695"/>
                  </a:cubicBezTo>
                  <a:cubicBezTo>
                    <a:pt x="1" y="470"/>
                    <a:pt x="1" y="244"/>
                    <a:pt x="0" y="18"/>
                  </a:cubicBezTo>
                </a:path>
              </a:pathLst>
            </a:custGeom>
            <a:solidFill>
              <a:srgbClr val="1819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5">
              <a:extLst>
                <a:ext uri="{FF2B5EF4-FFF2-40B4-BE49-F238E27FC236}">
                  <a16:creationId xmlns:a16="http://schemas.microsoft.com/office/drawing/2014/main" id="{7CCBB6F2-E08D-474F-98FC-D3356826C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" y="656"/>
              <a:ext cx="13" cy="355"/>
            </a:xfrm>
            <a:custGeom>
              <a:avLst/>
              <a:gdLst/>
              <a:ahLst/>
              <a:cxnLst>
                <a:cxn ang="0">
                  <a:pos x="13" y="378"/>
                </a:cxn>
                <a:cxn ang="0">
                  <a:pos x="54" y="0"/>
                </a:cxn>
                <a:cxn ang="0">
                  <a:pos x="56" y="979"/>
                </a:cxn>
                <a:cxn ang="0">
                  <a:pos x="56" y="1763"/>
                </a:cxn>
                <a:cxn ang="0">
                  <a:pos x="36" y="1421"/>
                </a:cxn>
                <a:cxn ang="0">
                  <a:pos x="6" y="1716"/>
                </a:cxn>
                <a:cxn ang="0">
                  <a:pos x="2" y="1608"/>
                </a:cxn>
                <a:cxn ang="0">
                  <a:pos x="4" y="672"/>
                </a:cxn>
                <a:cxn ang="0">
                  <a:pos x="13" y="378"/>
                </a:cxn>
              </a:cxnLst>
              <a:rect l="0" t="0" r="r" b="b"/>
              <a:pathLst>
                <a:path w="65" h="1763">
                  <a:moveTo>
                    <a:pt x="13" y="378"/>
                  </a:moveTo>
                  <a:cubicBezTo>
                    <a:pt x="30" y="253"/>
                    <a:pt x="0" y="120"/>
                    <a:pt x="54" y="0"/>
                  </a:cubicBezTo>
                  <a:cubicBezTo>
                    <a:pt x="61" y="326"/>
                    <a:pt x="52" y="653"/>
                    <a:pt x="56" y="979"/>
                  </a:cubicBezTo>
                  <a:cubicBezTo>
                    <a:pt x="57" y="1240"/>
                    <a:pt x="65" y="1502"/>
                    <a:pt x="56" y="1763"/>
                  </a:cubicBezTo>
                  <a:cubicBezTo>
                    <a:pt x="39" y="1650"/>
                    <a:pt x="55" y="1534"/>
                    <a:pt x="36" y="1421"/>
                  </a:cubicBezTo>
                  <a:cubicBezTo>
                    <a:pt x="9" y="1517"/>
                    <a:pt x="38" y="1620"/>
                    <a:pt x="6" y="1716"/>
                  </a:cubicBezTo>
                  <a:cubicBezTo>
                    <a:pt x="2" y="1680"/>
                    <a:pt x="1" y="1644"/>
                    <a:pt x="2" y="1608"/>
                  </a:cubicBezTo>
                  <a:cubicBezTo>
                    <a:pt x="4" y="1296"/>
                    <a:pt x="0" y="984"/>
                    <a:pt x="4" y="672"/>
                  </a:cubicBezTo>
                  <a:cubicBezTo>
                    <a:pt x="10" y="574"/>
                    <a:pt x="14" y="476"/>
                    <a:pt x="13" y="378"/>
                  </a:cubicBezTo>
                  <a:close/>
                </a:path>
              </a:pathLst>
            </a:custGeom>
            <a:solidFill>
              <a:srgbClr val="98989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36">
              <a:extLst>
                <a:ext uri="{FF2B5EF4-FFF2-40B4-BE49-F238E27FC236}">
                  <a16:creationId xmlns:a16="http://schemas.microsoft.com/office/drawing/2014/main" id="{FD1A0731-186C-43B9-8AA2-057FD0D49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5" y="676"/>
              <a:ext cx="28" cy="31"/>
            </a:xfrm>
            <a:custGeom>
              <a:avLst/>
              <a:gdLst/>
              <a:ahLst/>
              <a:cxnLst>
                <a:cxn ang="0">
                  <a:pos x="7" y="27"/>
                </a:cxn>
                <a:cxn ang="0">
                  <a:pos x="141" y="25"/>
                </a:cxn>
                <a:cxn ang="0">
                  <a:pos x="139" y="90"/>
                </a:cxn>
                <a:cxn ang="0">
                  <a:pos x="74" y="104"/>
                </a:cxn>
                <a:cxn ang="0">
                  <a:pos x="70" y="152"/>
                </a:cxn>
                <a:cxn ang="0">
                  <a:pos x="3" y="152"/>
                </a:cxn>
                <a:cxn ang="0">
                  <a:pos x="7" y="27"/>
                </a:cxn>
              </a:cxnLst>
              <a:rect l="0" t="0" r="r" b="b"/>
              <a:pathLst>
                <a:path w="141" h="152">
                  <a:moveTo>
                    <a:pt x="7" y="27"/>
                  </a:moveTo>
                  <a:cubicBezTo>
                    <a:pt x="50" y="8"/>
                    <a:pt x="98" y="0"/>
                    <a:pt x="141" y="25"/>
                  </a:cubicBezTo>
                  <a:cubicBezTo>
                    <a:pt x="140" y="46"/>
                    <a:pt x="139" y="68"/>
                    <a:pt x="139" y="90"/>
                  </a:cubicBezTo>
                  <a:cubicBezTo>
                    <a:pt x="117" y="94"/>
                    <a:pt x="96" y="99"/>
                    <a:pt x="74" y="104"/>
                  </a:cubicBezTo>
                  <a:cubicBezTo>
                    <a:pt x="73" y="116"/>
                    <a:pt x="71" y="140"/>
                    <a:pt x="70" y="152"/>
                  </a:cubicBezTo>
                  <a:cubicBezTo>
                    <a:pt x="47" y="152"/>
                    <a:pt x="25" y="152"/>
                    <a:pt x="3" y="152"/>
                  </a:cubicBezTo>
                  <a:cubicBezTo>
                    <a:pt x="0" y="110"/>
                    <a:pt x="2" y="69"/>
                    <a:pt x="7" y="27"/>
                  </a:cubicBezTo>
                  <a:close/>
                </a:path>
              </a:pathLst>
            </a:custGeom>
            <a:solidFill>
              <a:srgbClr val="5454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7">
              <a:extLst>
                <a:ext uri="{FF2B5EF4-FFF2-40B4-BE49-F238E27FC236}">
                  <a16:creationId xmlns:a16="http://schemas.microsoft.com/office/drawing/2014/main" id="{FF0E2AEC-33A2-4E97-8A14-248AFB342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6" y="676"/>
              <a:ext cx="41" cy="15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203" y="70"/>
                </a:cxn>
                <a:cxn ang="0">
                  <a:pos x="0" y="72"/>
                </a:cxn>
              </a:cxnLst>
              <a:rect l="0" t="0" r="r" b="b"/>
              <a:pathLst>
                <a:path w="203" h="72">
                  <a:moveTo>
                    <a:pt x="0" y="72"/>
                  </a:moveTo>
                  <a:cubicBezTo>
                    <a:pt x="46" y="1"/>
                    <a:pt x="156" y="0"/>
                    <a:pt x="203" y="70"/>
                  </a:cubicBezTo>
                  <a:cubicBezTo>
                    <a:pt x="142" y="31"/>
                    <a:pt x="60" y="31"/>
                    <a:pt x="0" y="72"/>
                  </a:cubicBezTo>
                  <a:close/>
                </a:path>
              </a:pathLst>
            </a:custGeom>
            <a:solidFill>
              <a:srgbClr val="6D6E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38">
              <a:extLst>
                <a:ext uri="{FF2B5EF4-FFF2-40B4-BE49-F238E27FC236}">
                  <a16:creationId xmlns:a16="http://schemas.microsoft.com/office/drawing/2014/main" id="{F8FC7C09-AB46-4643-AD9F-9D35FF8AE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6" y="677"/>
              <a:ext cx="58" cy="27"/>
            </a:xfrm>
            <a:custGeom>
              <a:avLst/>
              <a:gdLst/>
              <a:ahLst/>
              <a:cxnLst>
                <a:cxn ang="0">
                  <a:pos x="19" y="135"/>
                </a:cxn>
                <a:cxn ang="0">
                  <a:pos x="52" y="8"/>
                </a:cxn>
                <a:cxn ang="0">
                  <a:pos x="272" y="13"/>
                </a:cxn>
                <a:cxn ang="0">
                  <a:pos x="290" y="35"/>
                </a:cxn>
                <a:cxn ang="0">
                  <a:pos x="43" y="30"/>
                </a:cxn>
                <a:cxn ang="0">
                  <a:pos x="19" y="135"/>
                </a:cxn>
              </a:cxnLst>
              <a:rect l="0" t="0" r="r" b="b"/>
              <a:pathLst>
                <a:path w="290" h="135">
                  <a:moveTo>
                    <a:pt x="19" y="135"/>
                  </a:moveTo>
                  <a:cubicBezTo>
                    <a:pt x="30" y="97"/>
                    <a:pt x="0" y="25"/>
                    <a:pt x="52" y="8"/>
                  </a:cubicBezTo>
                  <a:cubicBezTo>
                    <a:pt x="125" y="8"/>
                    <a:pt x="200" y="0"/>
                    <a:pt x="272" y="13"/>
                  </a:cubicBezTo>
                  <a:lnTo>
                    <a:pt x="290" y="35"/>
                  </a:lnTo>
                  <a:cubicBezTo>
                    <a:pt x="208" y="28"/>
                    <a:pt x="125" y="31"/>
                    <a:pt x="43" y="30"/>
                  </a:cubicBezTo>
                  <a:cubicBezTo>
                    <a:pt x="47" y="68"/>
                    <a:pt x="54" y="110"/>
                    <a:pt x="19" y="135"/>
                  </a:cubicBezTo>
                </a:path>
              </a:pathLst>
            </a:custGeom>
            <a:solidFill>
              <a:srgbClr val="56565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9">
              <a:extLst>
                <a:ext uri="{FF2B5EF4-FFF2-40B4-BE49-F238E27FC236}">
                  <a16:creationId xmlns:a16="http://schemas.microsoft.com/office/drawing/2014/main" id="{0DC5EDDC-ABCC-451B-9BFB-827B90EA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" y="681"/>
              <a:ext cx="10" cy="1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0" y="48"/>
                </a:cxn>
                <a:cxn ang="0">
                  <a:pos x="0" y="51"/>
                </a:cxn>
                <a:cxn ang="0">
                  <a:pos x="5" y="0"/>
                </a:cxn>
              </a:cxnLst>
              <a:rect l="0" t="0" r="r" b="b"/>
              <a:pathLst>
                <a:path w="53" h="51">
                  <a:moveTo>
                    <a:pt x="5" y="0"/>
                  </a:moveTo>
                  <a:cubicBezTo>
                    <a:pt x="29" y="6"/>
                    <a:pt x="53" y="19"/>
                    <a:pt x="50" y="48"/>
                  </a:cubicBezTo>
                  <a:cubicBezTo>
                    <a:pt x="37" y="49"/>
                    <a:pt x="13" y="50"/>
                    <a:pt x="0" y="51"/>
                  </a:cubicBezTo>
                  <a:cubicBezTo>
                    <a:pt x="1" y="38"/>
                    <a:pt x="4" y="13"/>
                    <a:pt x="5" y="0"/>
                  </a:cubicBezTo>
                  <a:close/>
                </a:path>
              </a:pathLst>
            </a:custGeom>
            <a:solidFill>
              <a:srgbClr val="19191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40">
              <a:extLst>
                <a:ext uri="{FF2B5EF4-FFF2-40B4-BE49-F238E27FC236}">
                  <a16:creationId xmlns:a16="http://schemas.microsoft.com/office/drawing/2014/main" id="{6A4D3C05-4111-401A-B374-B6BB7D29D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" y="680"/>
              <a:ext cx="22" cy="27"/>
            </a:xfrm>
            <a:custGeom>
              <a:avLst/>
              <a:gdLst/>
              <a:ahLst/>
              <a:cxnLst>
                <a:cxn ang="0">
                  <a:pos x="78" y="52"/>
                </a:cxn>
                <a:cxn ang="0">
                  <a:pos x="103" y="0"/>
                </a:cxn>
                <a:cxn ang="0">
                  <a:pos x="104" y="129"/>
                </a:cxn>
                <a:cxn ang="0">
                  <a:pos x="42" y="133"/>
                </a:cxn>
                <a:cxn ang="0">
                  <a:pos x="24" y="44"/>
                </a:cxn>
                <a:cxn ang="0">
                  <a:pos x="78" y="52"/>
                </a:cxn>
              </a:cxnLst>
              <a:rect l="0" t="0" r="r" b="b"/>
              <a:pathLst>
                <a:path w="106" h="133">
                  <a:moveTo>
                    <a:pt x="78" y="52"/>
                  </a:moveTo>
                  <a:cubicBezTo>
                    <a:pt x="86" y="34"/>
                    <a:pt x="94" y="17"/>
                    <a:pt x="103" y="0"/>
                  </a:cubicBezTo>
                  <a:cubicBezTo>
                    <a:pt x="106" y="43"/>
                    <a:pt x="106" y="86"/>
                    <a:pt x="104" y="129"/>
                  </a:cubicBezTo>
                  <a:cubicBezTo>
                    <a:pt x="83" y="129"/>
                    <a:pt x="63" y="131"/>
                    <a:pt x="42" y="133"/>
                  </a:cubicBezTo>
                  <a:cubicBezTo>
                    <a:pt x="10" y="110"/>
                    <a:pt x="0" y="77"/>
                    <a:pt x="24" y="44"/>
                  </a:cubicBezTo>
                  <a:cubicBezTo>
                    <a:pt x="37" y="46"/>
                    <a:pt x="64" y="50"/>
                    <a:pt x="78" y="52"/>
                  </a:cubicBezTo>
                </a:path>
              </a:pathLst>
            </a:custGeom>
            <a:solidFill>
              <a:srgbClr val="83848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41">
              <a:extLst>
                <a:ext uri="{FF2B5EF4-FFF2-40B4-BE49-F238E27FC236}">
                  <a16:creationId xmlns:a16="http://schemas.microsoft.com/office/drawing/2014/main" id="{6454656B-7896-4EE7-B515-D8EC123B6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1" y="681"/>
              <a:ext cx="38" cy="2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92" y="6"/>
                </a:cxn>
                <a:cxn ang="0">
                  <a:pos x="133" y="137"/>
                </a:cxn>
                <a:cxn ang="0">
                  <a:pos x="160" y="27"/>
                </a:cxn>
                <a:cxn ang="0">
                  <a:pos x="97" y="13"/>
                </a:cxn>
                <a:cxn ang="0">
                  <a:pos x="38" y="137"/>
                </a:cxn>
                <a:cxn ang="0">
                  <a:pos x="64" y="21"/>
                </a:cxn>
                <a:cxn ang="0">
                  <a:pos x="0" y="3"/>
                </a:cxn>
              </a:cxnLst>
              <a:rect l="0" t="0" r="r" b="b"/>
              <a:pathLst>
                <a:path w="192" h="137">
                  <a:moveTo>
                    <a:pt x="0" y="3"/>
                  </a:moveTo>
                  <a:cubicBezTo>
                    <a:pt x="64" y="5"/>
                    <a:pt x="128" y="0"/>
                    <a:pt x="192" y="6"/>
                  </a:cubicBezTo>
                  <a:cubicBezTo>
                    <a:pt x="161" y="45"/>
                    <a:pt x="142" y="89"/>
                    <a:pt x="133" y="137"/>
                  </a:cubicBezTo>
                  <a:cubicBezTo>
                    <a:pt x="116" y="98"/>
                    <a:pt x="140" y="60"/>
                    <a:pt x="160" y="27"/>
                  </a:cubicBezTo>
                  <a:cubicBezTo>
                    <a:pt x="139" y="21"/>
                    <a:pt x="118" y="16"/>
                    <a:pt x="97" y="13"/>
                  </a:cubicBezTo>
                  <a:cubicBezTo>
                    <a:pt x="59" y="44"/>
                    <a:pt x="47" y="91"/>
                    <a:pt x="38" y="137"/>
                  </a:cubicBezTo>
                  <a:cubicBezTo>
                    <a:pt x="23" y="95"/>
                    <a:pt x="43" y="56"/>
                    <a:pt x="64" y="21"/>
                  </a:cubicBezTo>
                  <a:cubicBezTo>
                    <a:pt x="40" y="22"/>
                    <a:pt x="19" y="16"/>
                    <a:pt x="0" y="3"/>
                  </a:cubicBezTo>
                </a:path>
              </a:pathLst>
            </a:custGeom>
            <a:solidFill>
              <a:srgbClr val="7A7A7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42">
              <a:extLst>
                <a:ext uri="{FF2B5EF4-FFF2-40B4-BE49-F238E27FC236}">
                  <a16:creationId xmlns:a16="http://schemas.microsoft.com/office/drawing/2014/main" id="{D1BBE92D-B79F-4AF1-A03F-41E1B8796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" y="681"/>
              <a:ext cx="9" cy="8"/>
            </a:xfrm>
            <a:custGeom>
              <a:avLst/>
              <a:gdLst/>
              <a:ahLst/>
              <a:cxnLst>
                <a:cxn ang="0">
                  <a:pos x="10" y="8"/>
                </a:cxn>
                <a:cxn ang="0">
                  <a:pos x="37" y="37"/>
                </a:cxn>
                <a:cxn ang="0">
                  <a:pos x="10" y="8"/>
                </a:cxn>
              </a:cxnLst>
              <a:rect l="0" t="0" r="r" b="b"/>
              <a:pathLst>
                <a:path w="46" h="44">
                  <a:moveTo>
                    <a:pt x="10" y="8"/>
                  </a:moveTo>
                  <a:cubicBezTo>
                    <a:pt x="37" y="0"/>
                    <a:pt x="46" y="10"/>
                    <a:pt x="37" y="37"/>
                  </a:cubicBezTo>
                  <a:cubicBezTo>
                    <a:pt x="9" y="44"/>
                    <a:pt x="0" y="34"/>
                    <a:pt x="10" y="8"/>
                  </a:cubicBezTo>
                  <a:close/>
                </a:path>
              </a:pathLst>
            </a:custGeom>
            <a:solidFill>
              <a:srgbClr val="2F2F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43">
              <a:extLst>
                <a:ext uri="{FF2B5EF4-FFF2-40B4-BE49-F238E27FC236}">
                  <a16:creationId xmlns:a16="http://schemas.microsoft.com/office/drawing/2014/main" id="{89E93B12-8556-4A43-BA6B-7B769CBAD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" y="687"/>
              <a:ext cx="15" cy="2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69" y="0"/>
                </a:cxn>
                <a:cxn ang="0">
                  <a:pos x="75" y="109"/>
                </a:cxn>
                <a:cxn ang="0">
                  <a:pos x="53" y="16"/>
                </a:cxn>
                <a:cxn ang="0">
                  <a:pos x="1" y="20"/>
                </a:cxn>
                <a:cxn ang="0">
                  <a:pos x="0" y="3"/>
                </a:cxn>
              </a:cxnLst>
              <a:rect l="0" t="0" r="r" b="b"/>
              <a:pathLst>
                <a:path w="76" h="109">
                  <a:moveTo>
                    <a:pt x="0" y="3"/>
                  </a:moveTo>
                  <a:cubicBezTo>
                    <a:pt x="23" y="2"/>
                    <a:pt x="46" y="1"/>
                    <a:pt x="69" y="0"/>
                  </a:cubicBezTo>
                  <a:cubicBezTo>
                    <a:pt x="73" y="36"/>
                    <a:pt x="76" y="73"/>
                    <a:pt x="75" y="109"/>
                  </a:cubicBezTo>
                  <a:cubicBezTo>
                    <a:pt x="41" y="90"/>
                    <a:pt x="56" y="48"/>
                    <a:pt x="53" y="16"/>
                  </a:cubicBezTo>
                  <a:lnTo>
                    <a:pt x="1" y="2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6D6E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44">
              <a:extLst>
                <a:ext uri="{FF2B5EF4-FFF2-40B4-BE49-F238E27FC236}">
                  <a16:creationId xmlns:a16="http://schemas.microsoft.com/office/drawing/2014/main" id="{83F7B404-860D-4F09-B07C-242C213D7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" y="684"/>
              <a:ext cx="30" cy="1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49" y="5"/>
                </a:cxn>
                <a:cxn ang="0">
                  <a:pos x="148" y="82"/>
                </a:cxn>
                <a:cxn ang="0">
                  <a:pos x="6" y="88"/>
                </a:cxn>
                <a:cxn ang="0">
                  <a:pos x="0" y="3"/>
                </a:cxn>
              </a:cxnLst>
              <a:rect l="0" t="0" r="r" b="b"/>
              <a:pathLst>
                <a:path w="149" h="88">
                  <a:moveTo>
                    <a:pt x="0" y="3"/>
                  </a:moveTo>
                  <a:cubicBezTo>
                    <a:pt x="49" y="0"/>
                    <a:pt x="99" y="1"/>
                    <a:pt x="149" y="5"/>
                  </a:cubicBezTo>
                  <a:cubicBezTo>
                    <a:pt x="148" y="30"/>
                    <a:pt x="148" y="56"/>
                    <a:pt x="148" y="82"/>
                  </a:cubicBezTo>
                  <a:cubicBezTo>
                    <a:pt x="100" y="82"/>
                    <a:pt x="53" y="84"/>
                    <a:pt x="6" y="88"/>
                  </a:cubicBezTo>
                  <a:cubicBezTo>
                    <a:pt x="3" y="60"/>
                    <a:pt x="2" y="31"/>
                    <a:pt x="0" y="3"/>
                  </a:cubicBezTo>
                </a:path>
              </a:pathLst>
            </a:custGeom>
            <a:solidFill>
              <a:srgbClr val="94949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45">
              <a:extLst>
                <a:ext uri="{FF2B5EF4-FFF2-40B4-BE49-F238E27FC236}">
                  <a16:creationId xmlns:a16="http://schemas.microsoft.com/office/drawing/2014/main" id="{DDD17E26-EBE8-46F7-A6BD-984385B91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" y="684"/>
              <a:ext cx="8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3" y="46"/>
                </a:cxn>
                <a:cxn ang="0">
                  <a:pos x="3" y="105"/>
                </a:cxn>
                <a:cxn ang="0">
                  <a:pos x="0" y="0"/>
                </a:cxn>
              </a:cxnLst>
              <a:rect l="0" t="0" r="r" b="b"/>
              <a:pathLst>
                <a:path w="43" h="105">
                  <a:moveTo>
                    <a:pt x="0" y="0"/>
                  </a:moveTo>
                  <a:cubicBezTo>
                    <a:pt x="15" y="14"/>
                    <a:pt x="29" y="30"/>
                    <a:pt x="43" y="46"/>
                  </a:cubicBezTo>
                  <a:cubicBezTo>
                    <a:pt x="29" y="65"/>
                    <a:pt x="16" y="85"/>
                    <a:pt x="3" y="105"/>
                  </a:cubicBezTo>
                  <a:cubicBezTo>
                    <a:pt x="1" y="70"/>
                    <a:pt x="0" y="35"/>
                    <a:pt x="0" y="0"/>
                  </a:cubicBezTo>
                  <a:close/>
                </a:path>
              </a:pathLst>
            </a:custGeom>
            <a:solidFill>
              <a:srgbClr val="7F808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46">
              <a:extLst>
                <a:ext uri="{FF2B5EF4-FFF2-40B4-BE49-F238E27FC236}">
                  <a16:creationId xmlns:a16="http://schemas.microsoft.com/office/drawing/2014/main" id="{691F75E7-DE34-4CF2-94CB-C5D9E8ABD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689"/>
              <a:ext cx="14" cy="16"/>
            </a:xfrm>
            <a:custGeom>
              <a:avLst/>
              <a:gdLst/>
              <a:ahLst/>
              <a:cxnLst>
                <a:cxn ang="0">
                  <a:pos x="22" y="18"/>
                </a:cxn>
                <a:cxn ang="0">
                  <a:pos x="47" y="63"/>
                </a:cxn>
                <a:cxn ang="0">
                  <a:pos x="22" y="18"/>
                </a:cxn>
              </a:cxnLst>
              <a:rect l="0" t="0" r="r" b="b"/>
              <a:pathLst>
                <a:path w="68" h="81">
                  <a:moveTo>
                    <a:pt x="22" y="18"/>
                  </a:moveTo>
                  <a:cubicBezTo>
                    <a:pt x="50" y="0"/>
                    <a:pt x="68" y="46"/>
                    <a:pt x="47" y="63"/>
                  </a:cubicBezTo>
                  <a:cubicBezTo>
                    <a:pt x="22" y="81"/>
                    <a:pt x="0" y="33"/>
                    <a:pt x="22" y="18"/>
                  </a:cubicBezTo>
                  <a:close/>
                </a:path>
              </a:pathLst>
            </a:custGeom>
            <a:solidFill>
              <a:srgbClr val="0303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47">
              <a:extLst>
                <a:ext uri="{FF2B5EF4-FFF2-40B4-BE49-F238E27FC236}">
                  <a16:creationId xmlns:a16="http://schemas.microsoft.com/office/drawing/2014/main" id="{5B94E5C2-F1A9-4BDD-9E00-A1A4100C7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689"/>
              <a:ext cx="25" cy="8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58" y="0"/>
                </a:cxn>
                <a:cxn ang="0">
                  <a:pos x="128" y="36"/>
                </a:cxn>
                <a:cxn ang="0">
                  <a:pos x="0" y="36"/>
                </a:cxn>
              </a:cxnLst>
              <a:rect l="0" t="0" r="r" b="b"/>
              <a:pathLst>
                <a:path w="128" h="36">
                  <a:moveTo>
                    <a:pt x="0" y="36"/>
                  </a:moveTo>
                  <a:cubicBezTo>
                    <a:pt x="17" y="21"/>
                    <a:pt x="38" y="11"/>
                    <a:pt x="58" y="0"/>
                  </a:cubicBezTo>
                  <a:cubicBezTo>
                    <a:pt x="81" y="11"/>
                    <a:pt x="105" y="23"/>
                    <a:pt x="128" y="36"/>
                  </a:cubicBezTo>
                  <a:cubicBezTo>
                    <a:pt x="85" y="32"/>
                    <a:pt x="42" y="32"/>
                    <a:pt x="0" y="36"/>
                  </a:cubicBezTo>
                  <a:close/>
                </a:path>
              </a:pathLst>
            </a:custGeom>
            <a:solidFill>
              <a:srgbClr val="67696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8">
              <a:extLst>
                <a:ext uri="{FF2B5EF4-FFF2-40B4-BE49-F238E27FC236}">
                  <a16:creationId xmlns:a16="http://schemas.microsoft.com/office/drawing/2014/main" id="{36FE9DC0-6F76-4D0E-99C9-D837B0EE2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8" y="687"/>
              <a:ext cx="10" cy="16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25"/>
                </a:cxn>
              </a:cxnLst>
              <a:rect l="0" t="0" r="r" b="b"/>
              <a:pathLst>
                <a:path w="50" h="81">
                  <a:moveTo>
                    <a:pt x="0" y="25"/>
                  </a:moveTo>
                  <a:cubicBezTo>
                    <a:pt x="50" y="0"/>
                    <a:pt x="1" y="81"/>
                    <a:pt x="0" y="25"/>
                  </a:cubicBezTo>
                  <a:close/>
                </a:path>
              </a:pathLst>
            </a:custGeom>
            <a:solidFill>
              <a:srgbClr val="36363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9">
              <a:extLst>
                <a:ext uri="{FF2B5EF4-FFF2-40B4-BE49-F238E27FC236}">
                  <a16:creationId xmlns:a16="http://schemas.microsoft.com/office/drawing/2014/main" id="{2E28C1E5-C377-4E7A-A278-1A740FFF0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" y="692"/>
              <a:ext cx="8" cy="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32" y="31"/>
                </a:cxn>
                <a:cxn ang="0">
                  <a:pos x="6" y="6"/>
                </a:cxn>
              </a:cxnLst>
              <a:rect l="0" t="0" r="r" b="b"/>
              <a:pathLst>
                <a:path w="38" h="38">
                  <a:moveTo>
                    <a:pt x="6" y="6"/>
                  </a:moveTo>
                  <a:cubicBezTo>
                    <a:pt x="29" y="0"/>
                    <a:pt x="38" y="8"/>
                    <a:pt x="32" y="31"/>
                  </a:cubicBezTo>
                  <a:cubicBezTo>
                    <a:pt x="8" y="38"/>
                    <a:pt x="0" y="29"/>
                    <a:pt x="6" y="6"/>
                  </a:cubicBezTo>
                  <a:close/>
                </a:path>
              </a:pathLst>
            </a:custGeom>
            <a:solidFill>
              <a:srgbClr val="3535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50">
              <a:extLst>
                <a:ext uri="{FF2B5EF4-FFF2-40B4-BE49-F238E27FC236}">
                  <a16:creationId xmlns:a16="http://schemas.microsoft.com/office/drawing/2014/main" id="{119A6D9B-54CD-45DA-BE9D-C55D4D2A3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2" y="694"/>
              <a:ext cx="13" cy="15"/>
            </a:xfrm>
            <a:custGeom>
              <a:avLst/>
              <a:gdLst/>
              <a:ahLst/>
              <a:cxnLst>
                <a:cxn ang="0">
                  <a:pos x="20" y="54"/>
                </a:cxn>
                <a:cxn ang="0">
                  <a:pos x="59" y="0"/>
                </a:cxn>
                <a:cxn ang="0">
                  <a:pos x="66" y="75"/>
                </a:cxn>
                <a:cxn ang="0">
                  <a:pos x="20" y="54"/>
                </a:cxn>
              </a:cxnLst>
              <a:rect l="0" t="0" r="r" b="b"/>
              <a:pathLst>
                <a:path w="66" h="75">
                  <a:moveTo>
                    <a:pt x="20" y="54"/>
                  </a:moveTo>
                  <a:cubicBezTo>
                    <a:pt x="0" y="26"/>
                    <a:pt x="36" y="5"/>
                    <a:pt x="59" y="0"/>
                  </a:cubicBezTo>
                  <a:cubicBezTo>
                    <a:pt x="60" y="25"/>
                    <a:pt x="62" y="50"/>
                    <a:pt x="66" y="75"/>
                  </a:cubicBezTo>
                  <a:cubicBezTo>
                    <a:pt x="50" y="70"/>
                    <a:pt x="34" y="63"/>
                    <a:pt x="20" y="54"/>
                  </a:cubicBezTo>
                  <a:close/>
                </a:path>
              </a:pathLst>
            </a:custGeom>
            <a:solidFill>
              <a:srgbClr val="58585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51">
              <a:extLst>
                <a:ext uri="{FF2B5EF4-FFF2-40B4-BE49-F238E27FC236}">
                  <a16:creationId xmlns:a16="http://schemas.microsoft.com/office/drawing/2014/main" id="{53E17AD2-4CD7-401B-A07E-DEB21A66A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2" y="702"/>
              <a:ext cx="9" cy="8"/>
            </a:xfrm>
            <a:custGeom>
              <a:avLst/>
              <a:gdLst/>
              <a:ahLst/>
              <a:cxnLst>
                <a:cxn ang="0">
                  <a:pos x="10" y="8"/>
                </a:cxn>
                <a:cxn ang="0">
                  <a:pos x="36" y="37"/>
                </a:cxn>
                <a:cxn ang="0">
                  <a:pos x="10" y="8"/>
                </a:cxn>
              </a:cxnLst>
              <a:rect l="0" t="0" r="r" b="b"/>
              <a:pathLst>
                <a:path w="45" h="44">
                  <a:moveTo>
                    <a:pt x="10" y="8"/>
                  </a:moveTo>
                  <a:cubicBezTo>
                    <a:pt x="37" y="0"/>
                    <a:pt x="45" y="10"/>
                    <a:pt x="36" y="37"/>
                  </a:cubicBezTo>
                  <a:cubicBezTo>
                    <a:pt x="8" y="44"/>
                    <a:pt x="0" y="35"/>
                    <a:pt x="10" y="8"/>
                  </a:cubicBezTo>
                  <a:close/>
                </a:path>
              </a:pathLst>
            </a:custGeom>
            <a:solidFill>
              <a:srgbClr val="8283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52">
              <a:extLst>
                <a:ext uri="{FF2B5EF4-FFF2-40B4-BE49-F238E27FC236}">
                  <a16:creationId xmlns:a16="http://schemas.microsoft.com/office/drawing/2014/main" id="{70A79070-FF12-4FD1-BC0E-782E32D88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" y="700"/>
              <a:ext cx="8" cy="8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31" y="31"/>
                </a:cxn>
                <a:cxn ang="0">
                  <a:pos x="9" y="8"/>
                </a:cxn>
              </a:cxnLst>
              <a:rect l="0" t="0" r="r" b="b"/>
              <a:pathLst>
                <a:path w="40" h="39">
                  <a:moveTo>
                    <a:pt x="9" y="8"/>
                  </a:moveTo>
                  <a:cubicBezTo>
                    <a:pt x="33" y="0"/>
                    <a:pt x="40" y="7"/>
                    <a:pt x="31" y="31"/>
                  </a:cubicBezTo>
                  <a:cubicBezTo>
                    <a:pt x="7" y="39"/>
                    <a:pt x="0" y="31"/>
                    <a:pt x="9" y="8"/>
                  </a:cubicBezTo>
                  <a:close/>
                </a:path>
              </a:pathLst>
            </a:custGeom>
            <a:solidFill>
              <a:srgbClr val="2F2F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53">
              <a:extLst>
                <a:ext uri="{FF2B5EF4-FFF2-40B4-BE49-F238E27FC236}">
                  <a16:creationId xmlns:a16="http://schemas.microsoft.com/office/drawing/2014/main" id="{21E9386B-A79D-46D1-A60D-9F50F7C6B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" y="699"/>
              <a:ext cx="48" cy="10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161" y="16"/>
                </a:cxn>
                <a:cxn ang="0">
                  <a:pos x="239" y="48"/>
                </a:cxn>
                <a:cxn ang="0">
                  <a:pos x="0" y="48"/>
                </a:cxn>
              </a:cxnLst>
              <a:rect l="0" t="0" r="r" b="b"/>
              <a:pathLst>
                <a:path w="239" h="48">
                  <a:moveTo>
                    <a:pt x="0" y="48"/>
                  </a:moveTo>
                  <a:cubicBezTo>
                    <a:pt x="39" y="0"/>
                    <a:pt x="107" y="22"/>
                    <a:pt x="161" y="16"/>
                  </a:cubicBezTo>
                  <a:cubicBezTo>
                    <a:pt x="193" y="10"/>
                    <a:pt x="219" y="25"/>
                    <a:pt x="239" y="48"/>
                  </a:cubicBezTo>
                  <a:cubicBezTo>
                    <a:pt x="159" y="43"/>
                    <a:pt x="79" y="43"/>
                    <a:pt x="0" y="48"/>
                  </a:cubicBezTo>
                </a:path>
              </a:pathLst>
            </a:custGeom>
            <a:solidFill>
              <a:srgbClr val="48484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54">
              <a:extLst>
                <a:ext uri="{FF2B5EF4-FFF2-40B4-BE49-F238E27FC236}">
                  <a16:creationId xmlns:a16="http://schemas.microsoft.com/office/drawing/2014/main" id="{0C81F19A-3796-40CA-844B-18E10BAE6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714"/>
              <a:ext cx="2799" cy="2049"/>
            </a:xfrm>
            <a:custGeom>
              <a:avLst/>
              <a:gdLst/>
              <a:ahLst/>
              <a:cxnLst>
                <a:cxn ang="0">
                  <a:pos x="3" y="1054"/>
                </a:cxn>
                <a:cxn ang="0">
                  <a:pos x="5" y="0"/>
                </a:cxn>
                <a:cxn ang="0">
                  <a:pos x="13917" y="1"/>
                </a:cxn>
                <a:cxn ang="0">
                  <a:pos x="13917" y="10185"/>
                </a:cxn>
                <a:cxn ang="0">
                  <a:pos x="3" y="10185"/>
                </a:cxn>
                <a:cxn ang="0">
                  <a:pos x="3" y="1054"/>
                </a:cxn>
              </a:cxnLst>
              <a:rect l="0" t="0" r="r" b="b"/>
              <a:pathLst>
                <a:path w="13917" h="10185">
                  <a:moveTo>
                    <a:pt x="3" y="1054"/>
                  </a:moveTo>
                  <a:cubicBezTo>
                    <a:pt x="4" y="703"/>
                    <a:pt x="0" y="351"/>
                    <a:pt x="5" y="0"/>
                  </a:cubicBezTo>
                  <a:cubicBezTo>
                    <a:pt x="4642" y="2"/>
                    <a:pt x="9280" y="0"/>
                    <a:pt x="13917" y="1"/>
                  </a:cubicBezTo>
                  <a:cubicBezTo>
                    <a:pt x="13917" y="3395"/>
                    <a:pt x="13917" y="6790"/>
                    <a:pt x="13917" y="10185"/>
                  </a:cubicBezTo>
                  <a:cubicBezTo>
                    <a:pt x="9279" y="10185"/>
                    <a:pt x="4641" y="10185"/>
                    <a:pt x="3" y="10185"/>
                  </a:cubicBezTo>
                  <a:cubicBezTo>
                    <a:pt x="3" y="7141"/>
                    <a:pt x="3" y="4098"/>
                    <a:pt x="3" y="105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55">
              <a:extLst>
                <a:ext uri="{FF2B5EF4-FFF2-40B4-BE49-F238E27FC236}">
                  <a16:creationId xmlns:a16="http://schemas.microsoft.com/office/drawing/2014/main" id="{853328C9-4E6F-4C2F-991C-308E06516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" y="724"/>
              <a:ext cx="16" cy="3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" y="10"/>
                </a:cxn>
                <a:cxn ang="0">
                  <a:pos x="70" y="211"/>
                </a:cxn>
                <a:cxn ang="0">
                  <a:pos x="74" y="653"/>
                </a:cxn>
                <a:cxn ang="0">
                  <a:pos x="72" y="1120"/>
                </a:cxn>
                <a:cxn ang="0">
                  <a:pos x="67" y="1514"/>
                </a:cxn>
                <a:cxn ang="0">
                  <a:pos x="53" y="1754"/>
                </a:cxn>
                <a:cxn ang="0">
                  <a:pos x="0" y="1857"/>
                </a:cxn>
                <a:cxn ang="0">
                  <a:pos x="0" y="0"/>
                </a:cxn>
              </a:cxnLst>
              <a:rect l="0" t="0" r="r" b="b"/>
              <a:pathLst>
                <a:path w="79" h="1857">
                  <a:moveTo>
                    <a:pt x="0" y="0"/>
                  </a:moveTo>
                  <a:cubicBezTo>
                    <a:pt x="12" y="3"/>
                    <a:pt x="37" y="8"/>
                    <a:pt x="50" y="10"/>
                  </a:cubicBezTo>
                  <a:cubicBezTo>
                    <a:pt x="53" y="77"/>
                    <a:pt x="49" y="146"/>
                    <a:pt x="70" y="211"/>
                  </a:cubicBezTo>
                  <a:cubicBezTo>
                    <a:pt x="77" y="358"/>
                    <a:pt x="71" y="506"/>
                    <a:pt x="74" y="653"/>
                  </a:cubicBezTo>
                  <a:cubicBezTo>
                    <a:pt x="65" y="809"/>
                    <a:pt x="79" y="964"/>
                    <a:pt x="72" y="1120"/>
                  </a:cubicBezTo>
                  <a:cubicBezTo>
                    <a:pt x="65" y="1251"/>
                    <a:pt x="70" y="1383"/>
                    <a:pt x="67" y="1514"/>
                  </a:cubicBezTo>
                  <a:cubicBezTo>
                    <a:pt x="47" y="1593"/>
                    <a:pt x="56" y="1674"/>
                    <a:pt x="53" y="1754"/>
                  </a:cubicBezTo>
                  <a:cubicBezTo>
                    <a:pt x="55" y="1796"/>
                    <a:pt x="23" y="1826"/>
                    <a:pt x="0" y="1857"/>
                  </a:cubicBezTo>
                  <a:cubicBezTo>
                    <a:pt x="0" y="1238"/>
                    <a:pt x="0" y="619"/>
                    <a:pt x="0" y="0"/>
                  </a:cubicBezTo>
                  <a:close/>
                </a:path>
              </a:pathLst>
            </a:custGeom>
            <a:solidFill>
              <a:srgbClr val="F1F2F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56">
              <a:extLst>
                <a:ext uri="{FF2B5EF4-FFF2-40B4-BE49-F238E27FC236}">
                  <a16:creationId xmlns:a16="http://schemas.microsoft.com/office/drawing/2014/main" id="{E21A2186-35D0-4D32-B18D-3A216ECE7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" y="849"/>
              <a:ext cx="16" cy="1379"/>
            </a:xfrm>
            <a:custGeom>
              <a:avLst/>
              <a:gdLst/>
              <a:ahLst/>
              <a:cxnLst>
                <a:cxn ang="0">
                  <a:pos x="50" y="26"/>
                </a:cxn>
                <a:cxn ang="0">
                  <a:pos x="72" y="0"/>
                </a:cxn>
                <a:cxn ang="0">
                  <a:pos x="72" y="1682"/>
                </a:cxn>
                <a:cxn ang="0">
                  <a:pos x="73" y="2249"/>
                </a:cxn>
                <a:cxn ang="0">
                  <a:pos x="76" y="2633"/>
                </a:cxn>
                <a:cxn ang="0">
                  <a:pos x="73" y="3450"/>
                </a:cxn>
                <a:cxn ang="0">
                  <a:pos x="73" y="6566"/>
                </a:cxn>
                <a:cxn ang="0">
                  <a:pos x="72" y="6804"/>
                </a:cxn>
                <a:cxn ang="0">
                  <a:pos x="33" y="6714"/>
                </a:cxn>
                <a:cxn ang="0">
                  <a:pos x="6" y="6858"/>
                </a:cxn>
                <a:cxn ang="0">
                  <a:pos x="12" y="5800"/>
                </a:cxn>
                <a:cxn ang="0">
                  <a:pos x="10" y="4117"/>
                </a:cxn>
                <a:cxn ang="0">
                  <a:pos x="4" y="2812"/>
                </a:cxn>
                <a:cxn ang="0">
                  <a:pos x="5" y="805"/>
                </a:cxn>
                <a:cxn ang="0">
                  <a:pos x="5" y="21"/>
                </a:cxn>
                <a:cxn ang="0">
                  <a:pos x="50" y="26"/>
                </a:cxn>
              </a:cxnLst>
              <a:rect l="0" t="0" r="r" b="b"/>
              <a:pathLst>
                <a:path w="83" h="6858">
                  <a:moveTo>
                    <a:pt x="50" y="26"/>
                  </a:moveTo>
                  <a:cubicBezTo>
                    <a:pt x="56" y="19"/>
                    <a:pt x="67" y="6"/>
                    <a:pt x="72" y="0"/>
                  </a:cubicBezTo>
                  <a:cubicBezTo>
                    <a:pt x="71" y="561"/>
                    <a:pt x="73" y="1121"/>
                    <a:pt x="72" y="1682"/>
                  </a:cubicBezTo>
                  <a:cubicBezTo>
                    <a:pt x="82" y="1871"/>
                    <a:pt x="67" y="2060"/>
                    <a:pt x="73" y="2249"/>
                  </a:cubicBezTo>
                  <a:cubicBezTo>
                    <a:pt x="83" y="2377"/>
                    <a:pt x="64" y="2505"/>
                    <a:pt x="76" y="2633"/>
                  </a:cubicBezTo>
                  <a:cubicBezTo>
                    <a:pt x="69" y="2905"/>
                    <a:pt x="74" y="3178"/>
                    <a:pt x="73" y="3450"/>
                  </a:cubicBezTo>
                  <a:cubicBezTo>
                    <a:pt x="72" y="4488"/>
                    <a:pt x="72" y="5528"/>
                    <a:pt x="73" y="6566"/>
                  </a:cubicBezTo>
                  <a:cubicBezTo>
                    <a:pt x="78" y="6646"/>
                    <a:pt x="76" y="6725"/>
                    <a:pt x="72" y="6804"/>
                  </a:cubicBezTo>
                  <a:cubicBezTo>
                    <a:pt x="64" y="6773"/>
                    <a:pt x="62" y="6735"/>
                    <a:pt x="33" y="6714"/>
                  </a:cubicBezTo>
                  <a:cubicBezTo>
                    <a:pt x="28" y="6763"/>
                    <a:pt x="21" y="6812"/>
                    <a:pt x="6" y="6858"/>
                  </a:cubicBezTo>
                  <a:cubicBezTo>
                    <a:pt x="0" y="6505"/>
                    <a:pt x="16" y="6153"/>
                    <a:pt x="12" y="5800"/>
                  </a:cubicBezTo>
                  <a:cubicBezTo>
                    <a:pt x="11" y="5239"/>
                    <a:pt x="13" y="4678"/>
                    <a:pt x="10" y="4117"/>
                  </a:cubicBezTo>
                  <a:cubicBezTo>
                    <a:pt x="10" y="3682"/>
                    <a:pt x="14" y="3247"/>
                    <a:pt x="4" y="2812"/>
                  </a:cubicBezTo>
                  <a:cubicBezTo>
                    <a:pt x="3" y="2143"/>
                    <a:pt x="7" y="1474"/>
                    <a:pt x="5" y="805"/>
                  </a:cubicBezTo>
                  <a:cubicBezTo>
                    <a:pt x="14" y="544"/>
                    <a:pt x="6" y="282"/>
                    <a:pt x="5" y="21"/>
                  </a:cubicBezTo>
                  <a:cubicBezTo>
                    <a:pt x="20" y="22"/>
                    <a:pt x="35" y="24"/>
                    <a:pt x="50" y="26"/>
                  </a:cubicBezTo>
                </a:path>
              </a:pathLst>
            </a:custGeom>
            <a:solidFill>
              <a:srgbClr val="D2D3D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57">
              <a:extLst>
                <a:ext uri="{FF2B5EF4-FFF2-40B4-BE49-F238E27FC236}">
                  <a16:creationId xmlns:a16="http://schemas.microsoft.com/office/drawing/2014/main" id="{9608A7F2-9620-4467-98C6-F0C1E416F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886"/>
              <a:ext cx="9" cy="7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32" y="3"/>
                </a:cxn>
                <a:cxn ang="0">
                  <a:pos x="36" y="345"/>
                </a:cxn>
                <a:cxn ang="0">
                  <a:pos x="26" y="350"/>
                </a:cxn>
                <a:cxn ang="0">
                  <a:pos x="5" y="345"/>
                </a:cxn>
                <a:cxn ang="0">
                  <a:pos x="8" y="0"/>
                </a:cxn>
              </a:cxnLst>
              <a:rect l="0" t="0" r="r" b="b"/>
              <a:pathLst>
                <a:path w="41" h="350">
                  <a:moveTo>
                    <a:pt x="8" y="0"/>
                  </a:moveTo>
                  <a:lnTo>
                    <a:pt x="32" y="3"/>
                  </a:lnTo>
                  <a:cubicBezTo>
                    <a:pt x="41" y="117"/>
                    <a:pt x="36" y="232"/>
                    <a:pt x="36" y="345"/>
                  </a:cubicBezTo>
                  <a:lnTo>
                    <a:pt x="26" y="350"/>
                  </a:lnTo>
                  <a:cubicBezTo>
                    <a:pt x="20" y="348"/>
                    <a:pt x="10" y="346"/>
                    <a:pt x="5" y="345"/>
                  </a:cubicBezTo>
                  <a:cubicBezTo>
                    <a:pt x="3" y="230"/>
                    <a:pt x="0" y="115"/>
                    <a:pt x="8" y="0"/>
                  </a:cubicBezTo>
                  <a:close/>
                </a:path>
              </a:pathLst>
            </a:custGeom>
            <a:solidFill>
              <a:srgbClr val="50515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58">
              <a:extLst>
                <a:ext uri="{FF2B5EF4-FFF2-40B4-BE49-F238E27FC236}">
                  <a16:creationId xmlns:a16="http://schemas.microsoft.com/office/drawing/2014/main" id="{5253DE44-A03E-4F39-B243-B2CA866F2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942"/>
              <a:ext cx="13" cy="538"/>
            </a:xfrm>
            <a:custGeom>
              <a:avLst/>
              <a:gdLst/>
              <a:ahLst/>
              <a:cxnLst>
                <a:cxn ang="0">
                  <a:pos x="7" y="295"/>
                </a:cxn>
                <a:cxn ang="0">
                  <a:pos x="37" y="0"/>
                </a:cxn>
                <a:cxn ang="0">
                  <a:pos x="57" y="342"/>
                </a:cxn>
                <a:cxn ang="0">
                  <a:pos x="56" y="2349"/>
                </a:cxn>
                <a:cxn ang="0">
                  <a:pos x="34" y="2673"/>
                </a:cxn>
                <a:cxn ang="0">
                  <a:pos x="13" y="2346"/>
                </a:cxn>
                <a:cxn ang="0">
                  <a:pos x="5" y="2236"/>
                </a:cxn>
                <a:cxn ang="0">
                  <a:pos x="4" y="403"/>
                </a:cxn>
                <a:cxn ang="0">
                  <a:pos x="7" y="295"/>
                </a:cxn>
              </a:cxnLst>
              <a:rect l="0" t="0" r="r" b="b"/>
              <a:pathLst>
                <a:path w="61" h="2673">
                  <a:moveTo>
                    <a:pt x="7" y="295"/>
                  </a:moveTo>
                  <a:cubicBezTo>
                    <a:pt x="39" y="199"/>
                    <a:pt x="10" y="96"/>
                    <a:pt x="37" y="0"/>
                  </a:cubicBezTo>
                  <a:cubicBezTo>
                    <a:pt x="56" y="113"/>
                    <a:pt x="40" y="229"/>
                    <a:pt x="57" y="342"/>
                  </a:cubicBezTo>
                  <a:cubicBezTo>
                    <a:pt x="59" y="1011"/>
                    <a:pt x="55" y="1680"/>
                    <a:pt x="56" y="2349"/>
                  </a:cubicBezTo>
                  <a:cubicBezTo>
                    <a:pt x="22" y="2455"/>
                    <a:pt x="61" y="2566"/>
                    <a:pt x="34" y="2673"/>
                  </a:cubicBezTo>
                  <a:cubicBezTo>
                    <a:pt x="17" y="2564"/>
                    <a:pt x="48" y="2451"/>
                    <a:pt x="13" y="2346"/>
                  </a:cubicBezTo>
                  <a:cubicBezTo>
                    <a:pt x="0" y="2311"/>
                    <a:pt x="6" y="2273"/>
                    <a:pt x="5" y="2236"/>
                  </a:cubicBezTo>
                  <a:cubicBezTo>
                    <a:pt x="5" y="1625"/>
                    <a:pt x="4" y="1014"/>
                    <a:pt x="4" y="403"/>
                  </a:cubicBezTo>
                  <a:cubicBezTo>
                    <a:pt x="5" y="367"/>
                    <a:pt x="1" y="331"/>
                    <a:pt x="7" y="295"/>
                  </a:cubicBezTo>
                  <a:close/>
                </a:path>
              </a:pathLst>
            </a:custGeom>
            <a:solidFill>
              <a:srgbClr val="8283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59">
              <a:extLst>
                <a:ext uri="{FF2B5EF4-FFF2-40B4-BE49-F238E27FC236}">
                  <a16:creationId xmlns:a16="http://schemas.microsoft.com/office/drawing/2014/main" id="{EAEBE7CE-53C9-4D37-9A01-ED82AC87B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961"/>
              <a:ext cx="9" cy="1527"/>
            </a:xfrm>
            <a:custGeom>
              <a:avLst/>
              <a:gdLst/>
              <a:ahLst/>
              <a:cxnLst>
                <a:cxn ang="0">
                  <a:pos x="15" y="543"/>
                </a:cxn>
                <a:cxn ang="0">
                  <a:pos x="23" y="0"/>
                </a:cxn>
                <a:cxn ang="0">
                  <a:pos x="35" y="110"/>
                </a:cxn>
                <a:cxn ang="0">
                  <a:pos x="27" y="510"/>
                </a:cxn>
                <a:cxn ang="0">
                  <a:pos x="35" y="810"/>
                </a:cxn>
                <a:cxn ang="0">
                  <a:pos x="35" y="1244"/>
                </a:cxn>
                <a:cxn ang="0">
                  <a:pos x="41" y="4411"/>
                </a:cxn>
                <a:cxn ang="0">
                  <a:pos x="39" y="7136"/>
                </a:cxn>
                <a:cxn ang="0">
                  <a:pos x="19" y="7596"/>
                </a:cxn>
                <a:cxn ang="0">
                  <a:pos x="4" y="7387"/>
                </a:cxn>
                <a:cxn ang="0">
                  <a:pos x="3" y="1120"/>
                </a:cxn>
                <a:cxn ang="0">
                  <a:pos x="18" y="1027"/>
                </a:cxn>
                <a:cxn ang="0">
                  <a:pos x="15" y="543"/>
                </a:cxn>
              </a:cxnLst>
              <a:rect l="0" t="0" r="r" b="b"/>
              <a:pathLst>
                <a:path w="44" h="7596">
                  <a:moveTo>
                    <a:pt x="15" y="543"/>
                  </a:moveTo>
                  <a:cubicBezTo>
                    <a:pt x="26" y="362"/>
                    <a:pt x="9" y="180"/>
                    <a:pt x="23" y="0"/>
                  </a:cubicBezTo>
                  <a:cubicBezTo>
                    <a:pt x="40" y="33"/>
                    <a:pt x="33" y="73"/>
                    <a:pt x="35" y="110"/>
                  </a:cubicBezTo>
                  <a:cubicBezTo>
                    <a:pt x="30" y="243"/>
                    <a:pt x="41" y="377"/>
                    <a:pt x="27" y="510"/>
                  </a:cubicBezTo>
                  <a:cubicBezTo>
                    <a:pt x="16" y="610"/>
                    <a:pt x="37" y="710"/>
                    <a:pt x="35" y="810"/>
                  </a:cubicBezTo>
                  <a:cubicBezTo>
                    <a:pt x="33" y="955"/>
                    <a:pt x="35" y="1099"/>
                    <a:pt x="35" y="1244"/>
                  </a:cubicBezTo>
                  <a:cubicBezTo>
                    <a:pt x="44" y="2299"/>
                    <a:pt x="40" y="3355"/>
                    <a:pt x="41" y="4411"/>
                  </a:cubicBezTo>
                  <a:cubicBezTo>
                    <a:pt x="43" y="5319"/>
                    <a:pt x="41" y="6228"/>
                    <a:pt x="39" y="7136"/>
                  </a:cubicBezTo>
                  <a:cubicBezTo>
                    <a:pt x="0" y="7286"/>
                    <a:pt x="33" y="7443"/>
                    <a:pt x="19" y="7596"/>
                  </a:cubicBezTo>
                  <a:cubicBezTo>
                    <a:pt x="17" y="7526"/>
                    <a:pt x="21" y="7455"/>
                    <a:pt x="4" y="7387"/>
                  </a:cubicBezTo>
                  <a:cubicBezTo>
                    <a:pt x="0" y="5298"/>
                    <a:pt x="3" y="3209"/>
                    <a:pt x="3" y="1120"/>
                  </a:cubicBezTo>
                  <a:cubicBezTo>
                    <a:pt x="12" y="1090"/>
                    <a:pt x="19" y="1059"/>
                    <a:pt x="18" y="1027"/>
                  </a:cubicBezTo>
                  <a:cubicBezTo>
                    <a:pt x="18" y="866"/>
                    <a:pt x="18" y="705"/>
                    <a:pt x="15" y="543"/>
                  </a:cubicBezTo>
                </a:path>
              </a:pathLst>
            </a:custGeom>
            <a:solidFill>
              <a:srgbClr val="2526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60">
              <a:extLst>
                <a:ext uri="{FF2B5EF4-FFF2-40B4-BE49-F238E27FC236}">
                  <a16:creationId xmlns:a16="http://schemas.microsoft.com/office/drawing/2014/main" id="{B0C13410-9E5D-400A-BE26-EEF9355F6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7" y="1029"/>
              <a:ext cx="44" cy="1944"/>
            </a:xfrm>
            <a:custGeom>
              <a:avLst/>
              <a:gdLst/>
              <a:ahLst/>
              <a:cxnLst>
                <a:cxn ang="0">
                  <a:pos x="194" y="240"/>
                </a:cxn>
                <a:cxn ang="0">
                  <a:pos x="208" y="0"/>
                </a:cxn>
                <a:cxn ang="0">
                  <a:pos x="209" y="539"/>
                </a:cxn>
                <a:cxn ang="0">
                  <a:pos x="219" y="782"/>
                </a:cxn>
                <a:cxn ang="0">
                  <a:pos x="220" y="7049"/>
                </a:cxn>
                <a:cxn ang="0">
                  <a:pos x="218" y="9116"/>
                </a:cxn>
                <a:cxn ang="0">
                  <a:pos x="191" y="9330"/>
                </a:cxn>
                <a:cxn ang="0">
                  <a:pos x="52" y="9666"/>
                </a:cxn>
                <a:cxn ang="0">
                  <a:pos x="0" y="9616"/>
                </a:cxn>
                <a:cxn ang="0">
                  <a:pos x="127" y="9272"/>
                </a:cxn>
                <a:cxn ang="0">
                  <a:pos x="141" y="8907"/>
                </a:cxn>
                <a:cxn ang="0">
                  <a:pos x="141" y="343"/>
                </a:cxn>
                <a:cxn ang="0">
                  <a:pos x="194" y="240"/>
                </a:cxn>
              </a:cxnLst>
              <a:rect l="0" t="0" r="r" b="b"/>
              <a:pathLst>
                <a:path w="223" h="9666">
                  <a:moveTo>
                    <a:pt x="194" y="240"/>
                  </a:moveTo>
                  <a:cubicBezTo>
                    <a:pt x="197" y="160"/>
                    <a:pt x="188" y="79"/>
                    <a:pt x="208" y="0"/>
                  </a:cubicBezTo>
                  <a:cubicBezTo>
                    <a:pt x="214" y="180"/>
                    <a:pt x="208" y="359"/>
                    <a:pt x="209" y="539"/>
                  </a:cubicBezTo>
                  <a:cubicBezTo>
                    <a:pt x="211" y="620"/>
                    <a:pt x="202" y="702"/>
                    <a:pt x="219" y="782"/>
                  </a:cubicBezTo>
                  <a:cubicBezTo>
                    <a:pt x="219" y="2871"/>
                    <a:pt x="216" y="4960"/>
                    <a:pt x="220" y="7049"/>
                  </a:cubicBezTo>
                  <a:cubicBezTo>
                    <a:pt x="214" y="7738"/>
                    <a:pt x="223" y="8427"/>
                    <a:pt x="218" y="9116"/>
                  </a:cubicBezTo>
                  <a:cubicBezTo>
                    <a:pt x="215" y="9188"/>
                    <a:pt x="204" y="9259"/>
                    <a:pt x="191" y="9330"/>
                  </a:cubicBezTo>
                  <a:cubicBezTo>
                    <a:pt x="165" y="9449"/>
                    <a:pt x="119" y="9564"/>
                    <a:pt x="52" y="9666"/>
                  </a:cubicBezTo>
                  <a:cubicBezTo>
                    <a:pt x="35" y="9650"/>
                    <a:pt x="17" y="9633"/>
                    <a:pt x="0" y="9616"/>
                  </a:cubicBezTo>
                  <a:cubicBezTo>
                    <a:pt x="67" y="9512"/>
                    <a:pt x="107" y="9393"/>
                    <a:pt x="127" y="9272"/>
                  </a:cubicBezTo>
                  <a:cubicBezTo>
                    <a:pt x="150" y="9152"/>
                    <a:pt x="138" y="9028"/>
                    <a:pt x="141" y="8907"/>
                  </a:cubicBezTo>
                  <a:cubicBezTo>
                    <a:pt x="141" y="6052"/>
                    <a:pt x="141" y="3198"/>
                    <a:pt x="141" y="343"/>
                  </a:cubicBezTo>
                  <a:cubicBezTo>
                    <a:pt x="164" y="312"/>
                    <a:pt x="196" y="282"/>
                    <a:pt x="194" y="240"/>
                  </a:cubicBezTo>
                </a:path>
              </a:pathLst>
            </a:custGeom>
            <a:solidFill>
              <a:srgbClr val="E9E9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61">
              <a:extLst>
                <a:ext uri="{FF2B5EF4-FFF2-40B4-BE49-F238E27FC236}">
                  <a16:creationId xmlns:a16="http://schemas.microsoft.com/office/drawing/2014/main" id="{14B7BF4C-A959-403E-90A2-EE643A228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" y="1414"/>
              <a:ext cx="15" cy="1480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40" y="327"/>
                </a:cxn>
                <a:cxn ang="0">
                  <a:pos x="62" y="3"/>
                </a:cxn>
                <a:cxn ang="0">
                  <a:pos x="68" y="1308"/>
                </a:cxn>
                <a:cxn ang="0">
                  <a:pos x="70" y="2991"/>
                </a:cxn>
                <a:cxn ang="0">
                  <a:pos x="64" y="4049"/>
                </a:cxn>
                <a:cxn ang="0">
                  <a:pos x="61" y="4991"/>
                </a:cxn>
                <a:cxn ang="0">
                  <a:pos x="61" y="6391"/>
                </a:cxn>
                <a:cxn ang="0">
                  <a:pos x="59" y="7195"/>
                </a:cxn>
                <a:cxn ang="0">
                  <a:pos x="39" y="7131"/>
                </a:cxn>
                <a:cxn ang="0">
                  <a:pos x="37" y="7359"/>
                </a:cxn>
                <a:cxn ang="0">
                  <a:pos x="19" y="7275"/>
                </a:cxn>
                <a:cxn ang="0">
                  <a:pos x="10" y="6640"/>
                </a:cxn>
                <a:cxn ang="0">
                  <a:pos x="11" y="4942"/>
                </a:cxn>
                <a:cxn ang="0">
                  <a:pos x="21" y="4524"/>
                </a:cxn>
                <a:cxn ang="0">
                  <a:pos x="11" y="4307"/>
                </a:cxn>
                <a:cxn ang="0">
                  <a:pos x="10" y="141"/>
                </a:cxn>
                <a:cxn ang="0">
                  <a:pos x="19" y="0"/>
                </a:cxn>
              </a:cxnLst>
              <a:rect l="0" t="0" r="r" b="b"/>
              <a:pathLst>
                <a:path w="74" h="7359">
                  <a:moveTo>
                    <a:pt x="19" y="0"/>
                  </a:moveTo>
                  <a:cubicBezTo>
                    <a:pt x="54" y="105"/>
                    <a:pt x="23" y="218"/>
                    <a:pt x="40" y="327"/>
                  </a:cubicBezTo>
                  <a:cubicBezTo>
                    <a:pt x="67" y="220"/>
                    <a:pt x="28" y="109"/>
                    <a:pt x="62" y="3"/>
                  </a:cubicBezTo>
                  <a:cubicBezTo>
                    <a:pt x="72" y="438"/>
                    <a:pt x="68" y="873"/>
                    <a:pt x="68" y="1308"/>
                  </a:cubicBezTo>
                  <a:cubicBezTo>
                    <a:pt x="71" y="1869"/>
                    <a:pt x="69" y="2430"/>
                    <a:pt x="70" y="2991"/>
                  </a:cubicBezTo>
                  <a:cubicBezTo>
                    <a:pt x="74" y="3344"/>
                    <a:pt x="58" y="3696"/>
                    <a:pt x="64" y="4049"/>
                  </a:cubicBezTo>
                  <a:cubicBezTo>
                    <a:pt x="56" y="4363"/>
                    <a:pt x="63" y="4677"/>
                    <a:pt x="61" y="4991"/>
                  </a:cubicBezTo>
                  <a:cubicBezTo>
                    <a:pt x="61" y="5457"/>
                    <a:pt x="61" y="5924"/>
                    <a:pt x="61" y="6391"/>
                  </a:cubicBezTo>
                  <a:cubicBezTo>
                    <a:pt x="62" y="6659"/>
                    <a:pt x="67" y="6927"/>
                    <a:pt x="59" y="7195"/>
                  </a:cubicBezTo>
                  <a:cubicBezTo>
                    <a:pt x="56" y="7172"/>
                    <a:pt x="51" y="7150"/>
                    <a:pt x="39" y="7131"/>
                  </a:cubicBezTo>
                  <a:cubicBezTo>
                    <a:pt x="44" y="7207"/>
                    <a:pt x="47" y="7283"/>
                    <a:pt x="37" y="7359"/>
                  </a:cubicBezTo>
                  <a:cubicBezTo>
                    <a:pt x="11" y="7341"/>
                    <a:pt x="24" y="7302"/>
                    <a:pt x="19" y="7275"/>
                  </a:cubicBezTo>
                  <a:cubicBezTo>
                    <a:pt x="5" y="7064"/>
                    <a:pt x="13" y="6852"/>
                    <a:pt x="10" y="6640"/>
                  </a:cubicBezTo>
                  <a:cubicBezTo>
                    <a:pt x="11" y="6074"/>
                    <a:pt x="11" y="5508"/>
                    <a:pt x="11" y="4942"/>
                  </a:cubicBezTo>
                  <a:cubicBezTo>
                    <a:pt x="16" y="4803"/>
                    <a:pt x="0" y="4662"/>
                    <a:pt x="21" y="4524"/>
                  </a:cubicBezTo>
                  <a:cubicBezTo>
                    <a:pt x="7" y="4452"/>
                    <a:pt x="11" y="4379"/>
                    <a:pt x="11" y="4307"/>
                  </a:cubicBezTo>
                  <a:cubicBezTo>
                    <a:pt x="10" y="2918"/>
                    <a:pt x="11" y="1529"/>
                    <a:pt x="10" y="141"/>
                  </a:cubicBezTo>
                  <a:cubicBezTo>
                    <a:pt x="11" y="94"/>
                    <a:pt x="3" y="45"/>
                    <a:pt x="19" y="0"/>
                  </a:cubicBezTo>
                  <a:close/>
                </a:path>
              </a:pathLst>
            </a:custGeom>
            <a:solidFill>
              <a:srgbClr val="9C9D9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62">
              <a:extLst>
                <a:ext uri="{FF2B5EF4-FFF2-40B4-BE49-F238E27FC236}">
                  <a16:creationId xmlns:a16="http://schemas.microsoft.com/office/drawing/2014/main" id="{244D6884-942E-4B06-BD3B-DF17920D9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" y="1683"/>
              <a:ext cx="54" cy="56"/>
            </a:xfrm>
            <a:custGeom>
              <a:avLst/>
              <a:gdLst/>
              <a:ahLst/>
              <a:cxnLst>
                <a:cxn ang="0">
                  <a:pos x="10" y="66"/>
                </a:cxn>
                <a:cxn ang="0">
                  <a:pos x="144" y="1"/>
                </a:cxn>
                <a:cxn ang="0">
                  <a:pos x="269" y="58"/>
                </a:cxn>
                <a:cxn ang="0">
                  <a:pos x="268" y="227"/>
                </a:cxn>
                <a:cxn ang="0">
                  <a:pos x="210" y="270"/>
                </a:cxn>
                <a:cxn ang="0">
                  <a:pos x="24" y="255"/>
                </a:cxn>
                <a:cxn ang="0">
                  <a:pos x="10" y="66"/>
                </a:cxn>
              </a:cxnLst>
              <a:rect l="0" t="0" r="r" b="b"/>
              <a:pathLst>
                <a:path w="273" h="277">
                  <a:moveTo>
                    <a:pt x="10" y="66"/>
                  </a:moveTo>
                  <a:cubicBezTo>
                    <a:pt x="19" y="3"/>
                    <a:pt x="94" y="0"/>
                    <a:pt x="144" y="1"/>
                  </a:cubicBezTo>
                  <a:cubicBezTo>
                    <a:pt x="189" y="1"/>
                    <a:pt x="255" y="4"/>
                    <a:pt x="269" y="58"/>
                  </a:cubicBezTo>
                  <a:cubicBezTo>
                    <a:pt x="273" y="114"/>
                    <a:pt x="273" y="171"/>
                    <a:pt x="268" y="227"/>
                  </a:cubicBezTo>
                  <a:cubicBezTo>
                    <a:pt x="257" y="250"/>
                    <a:pt x="234" y="266"/>
                    <a:pt x="210" y="270"/>
                  </a:cubicBezTo>
                  <a:cubicBezTo>
                    <a:pt x="148" y="277"/>
                    <a:pt x="83" y="277"/>
                    <a:pt x="24" y="255"/>
                  </a:cubicBezTo>
                  <a:cubicBezTo>
                    <a:pt x="0" y="195"/>
                    <a:pt x="7" y="129"/>
                    <a:pt x="10" y="66"/>
                  </a:cubicBezTo>
                </a:path>
              </a:pathLst>
            </a:custGeom>
            <a:solidFill>
              <a:srgbClr val="3D3E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63">
              <a:extLst>
                <a:ext uri="{FF2B5EF4-FFF2-40B4-BE49-F238E27FC236}">
                  <a16:creationId xmlns:a16="http://schemas.microsoft.com/office/drawing/2014/main" id="{910C136E-B19E-43AE-BE54-297FF16B1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7" y="1684"/>
              <a:ext cx="46" cy="54"/>
            </a:xfrm>
            <a:custGeom>
              <a:avLst/>
              <a:gdLst/>
              <a:ahLst/>
              <a:cxnLst>
                <a:cxn ang="0">
                  <a:pos x="5" y="47"/>
                </a:cxn>
                <a:cxn ang="0">
                  <a:pos x="86" y="9"/>
                </a:cxn>
                <a:cxn ang="0">
                  <a:pos x="228" y="42"/>
                </a:cxn>
                <a:cxn ang="0">
                  <a:pos x="227" y="232"/>
                </a:cxn>
                <a:cxn ang="0">
                  <a:pos x="4" y="229"/>
                </a:cxn>
                <a:cxn ang="0">
                  <a:pos x="5" y="47"/>
                </a:cxn>
              </a:cxnLst>
              <a:rect l="0" t="0" r="r" b="b"/>
              <a:pathLst>
                <a:path w="228" h="268">
                  <a:moveTo>
                    <a:pt x="5" y="47"/>
                  </a:moveTo>
                  <a:cubicBezTo>
                    <a:pt x="19" y="15"/>
                    <a:pt x="55" y="9"/>
                    <a:pt x="86" y="9"/>
                  </a:cubicBezTo>
                  <a:cubicBezTo>
                    <a:pt x="135" y="10"/>
                    <a:pt x="193" y="0"/>
                    <a:pt x="228" y="42"/>
                  </a:cubicBezTo>
                  <a:cubicBezTo>
                    <a:pt x="226" y="106"/>
                    <a:pt x="227" y="169"/>
                    <a:pt x="227" y="232"/>
                  </a:cubicBezTo>
                  <a:cubicBezTo>
                    <a:pt x="160" y="265"/>
                    <a:pt x="69" y="268"/>
                    <a:pt x="4" y="229"/>
                  </a:cubicBezTo>
                  <a:cubicBezTo>
                    <a:pt x="5" y="168"/>
                    <a:pt x="0" y="107"/>
                    <a:pt x="5" y="47"/>
                  </a:cubicBezTo>
                </a:path>
              </a:pathLst>
            </a:custGeom>
            <a:solidFill>
              <a:srgbClr val="0303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64">
              <a:extLst>
                <a:ext uri="{FF2B5EF4-FFF2-40B4-BE49-F238E27FC236}">
                  <a16:creationId xmlns:a16="http://schemas.microsoft.com/office/drawing/2014/main" id="{C36B85F2-DA53-471C-B28F-23E305015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8" y="2199"/>
              <a:ext cx="21" cy="711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78" y="90"/>
                </a:cxn>
                <a:cxn ang="0">
                  <a:pos x="80" y="337"/>
                </a:cxn>
                <a:cxn ang="0">
                  <a:pos x="83" y="769"/>
                </a:cxn>
                <a:cxn ang="0">
                  <a:pos x="84" y="2003"/>
                </a:cxn>
                <a:cxn ang="0">
                  <a:pos x="79" y="3168"/>
                </a:cxn>
                <a:cxn ang="0">
                  <a:pos x="108" y="3497"/>
                </a:cxn>
                <a:cxn ang="0">
                  <a:pos x="91" y="3533"/>
                </a:cxn>
                <a:cxn ang="0">
                  <a:pos x="39" y="3502"/>
                </a:cxn>
                <a:cxn ang="0">
                  <a:pos x="7" y="3290"/>
                </a:cxn>
                <a:cxn ang="0">
                  <a:pos x="9" y="2486"/>
                </a:cxn>
                <a:cxn ang="0">
                  <a:pos x="9" y="1086"/>
                </a:cxn>
                <a:cxn ang="0">
                  <a:pos x="12" y="144"/>
                </a:cxn>
                <a:cxn ang="0">
                  <a:pos x="39" y="0"/>
                </a:cxn>
              </a:cxnLst>
              <a:rect l="0" t="0" r="r" b="b"/>
              <a:pathLst>
                <a:path w="108" h="3533">
                  <a:moveTo>
                    <a:pt x="39" y="0"/>
                  </a:moveTo>
                  <a:cubicBezTo>
                    <a:pt x="68" y="21"/>
                    <a:pt x="70" y="59"/>
                    <a:pt x="78" y="90"/>
                  </a:cubicBezTo>
                  <a:cubicBezTo>
                    <a:pt x="79" y="172"/>
                    <a:pt x="76" y="255"/>
                    <a:pt x="80" y="337"/>
                  </a:cubicBezTo>
                  <a:cubicBezTo>
                    <a:pt x="94" y="481"/>
                    <a:pt x="68" y="625"/>
                    <a:pt x="83" y="769"/>
                  </a:cubicBezTo>
                  <a:cubicBezTo>
                    <a:pt x="84" y="1180"/>
                    <a:pt x="84" y="1592"/>
                    <a:pt x="84" y="2003"/>
                  </a:cubicBezTo>
                  <a:cubicBezTo>
                    <a:pt x="75" y="2391"/>
                    <a:pt x="79" y="2780"/>
                    <a:pt x="79" y="3168"/>
                  </a:cubicBezTo>
                  <a:cubicBezTo>
                    <a:pt x="90" y="3278"/>
                    <a:pt x="84" y="3389"/>
                    <a:pt x="108" y="3497"/>
                  </a:cubicBezTo>
                  <a:cubicBezTo>
                    <a:pt x="104" y="3506"/>
                    <a:pt x="95" y="3524"/>
                    <a:pt x="91" y="3533"/>
                  </a:cubicBezTo>
                  <a:cubicBezTo>
                    <a:pt x="74" y="3523"/>
                    <a:pt x="56" y="3512"/>
                    <a:pt x="39" y="3502"/>
                  </a:cubicBezTo>
                  <a:cubicBezTo>
                    <a:pt x="31" y="3431"/>
                    <a:pt x="0" y="3363"/>
                    <a:pt x="7" y="3290"/>
                  </a:cubicBezTo>
                  <a:cubicBezTo>
                    <a:pt x="15" y="3022"/>
                    <a:pt x="10" y="2754"/>
                    <a:pt x="9" y="2486"/>
                  </a:cubicBezTo>
                  <a:cubicBezTo>
                    <a:pt x="9" y="2019"/>
                    <a:pt x="9" y="1552"/>
                    <a:pt x="9" y="1086"/>
                  </a:cubicBezTo>
                  <a:cubicBezTo>
                    <a:pt x="11" y="772"/>
                    <a:pt x="4" y="458"/>
                    <a:pt x="12" y="144"/>
                  </a:cubicBezTo>
                  <a:cubicBezTo>
                    <a:pt x="27" y="98"/>
                    <a:pt x="34" y="49"/>
                    <a:pt x="39" y="0"/>
                  </a:cubicBezTo>
                </a:path>
              </a:pathLst>
            </a:custGeom>
            <a:solidFill>
              <a:srgbClr val="E1E1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65">
              <a:extLst>
                <a:ext uri="{FF2B5EF4-FFF2-40B4-BE49-F238E27FC236}">
                  <a16:creationId xmlns:a16="http://schemas.microsoft.com/office/drawing/2014/main" id="{97E648EB-6954-4FBF-A4EE-EB2F596DB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2396"/>
              <a:ext cx="12" cy="478"/>
            </a:xfrm>
            <a:custGeom>
              <a:avLst/>
              <a:gdLst/>
              <a:ahLst/>
              <a:cxnLst>
                <a:cxn ang="0">
                  <a:pos x="21" y="460"/>
                </a:cxn>
                <a:cxn ang="0">
                  <a:pos x="41" y="0"/>
                </a:cxn>
                <a:cxn ang="0">
                  <a:pos x="50" y="575"/>
                </a:cxn>
                <a:cxn ang="0">
                  <a:pos x="42" y="975"/>
                </a:cxn>
                <a:cxn ang="0">
                  <a:pos x="43" y="2347"/>
                </a:cxn>
                <a:cxn ang="0">
                  <a:pos x="42" y="2378"/>
                </a:cxn>
                <a:cxn ang="0">
                  <a:pos x="4" y="2318"/>
                </a:cxn>
                <a:cxn ang="0">
                  <a:pos x="6" y="251"/>
                </a:cxn>
                <a:cxn ang="0">
                  <a:pos x="21" y="460"/>
                </a:cxn>
              </a:cxnLst>
              <a:rect l="0" t="0" r="r" b="b"/>
              <a:pathLst>
                <a:path w="63" h="2378">
                  <a:moveTo>
                    <a:pt x="21" y="460"/>
                  </a:moveTo>
                  <a:cubicBezTo>
                    <a:pt x="35" y="307"/>
                    <a:pt x="2" y="150"/>
                    <a:pt x="41" y="0"/>
                  </a:cubicBezTo>
                  <a:cubicBezTo>
                    <a:pt x="63" y="191"/>
                    <a:pt x="44" y="383"/>
                    <a:pt x="50" y="575"/>
                  </a:cubicBezTo>
                  <a:cubicBezTo>
                    <a:pt x="56" y="708"/>
                    <a:pt x="40" y="841"/>
                    <a:pt x="42" y="975"/>
                  </a:cubicBezTo>
                  <a:cubicBezTo>
                    <a:pt x="40" y="1432"/>
                    <a:pt x="32" y="1890"/>
                    <a:pt x="43" y="2347"/>
                  </a:cubicBezTo>
                  <a:cubicBezTo>
                    <a:pt x="43" y="2355"/>
                    <a:pt x="42" y="2370"/>
                    <a:pt x="42" y="2378"/>
                  </a:cubicBezTo>
                  <a:cubicBezTo>
                    <a:pt x="29" y="2358"/>
                    <a:pt x="17" y="2338"/>
                    <a:pt x="4" y="2318"/>
                  </a:cubicBezTo>
                  <a:cubicBezTo>
                    <a:pt x="9" y="1629"/>
                    <a:pt x="0" y="940"/>
                    <a:pt x="6" y="251"/>
                  </a:cubicBezTo>
                  <a:cubicBezTo>
                    <a:pt x="23" y="319"/>
                    <a:pt x="19" y="390"/>
                    <a:pt x="21" y="460"/>
                  </a:cubicBezTo>
                </a:path>
              </a:pathLst>
            </a:custGeom>
            <a:solidFill>
              <a:srgbClr val="52535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66">
              <a:extLst>
                <a:ext uri="{FF2B5EF4-FFF2-40B4-BE49-F238E27FC236}">
                  <a16:creationId xmlns:a16="http://schemas.microsoft.com/office/drawing/2014/main" id="{D8F9D011-F032-4F8B-B517-554439BD8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4" y="2848"/>
              <a:ext cx="12" cy="9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23" y="64"/>
                </a:cxn>
                <a:cxn ang="0">
                  <a:pos x="55" y="276"/>
                </a:cxn>
                <a:cxn ang="0">
                  <a:pos x="60" y="314"/>
                </a:cxn>
                <a:cxn ang="0">
                  <a:pos x="36" y="272"/>
                </a:cxn>
                <a:cxn ang="0">
                  <a:pos x="48" y="431"/>
                </a:cxn>
                <a:cxn ang="0">
                  <a:pos x="46" y="445"/>
                </a:cxn>
                <a:cxn ang="0">
                  <a:pos x="1" y="228"/>
                </a:cxn>
                <a:cxn ang="0">
                  <a:pos x="3" y="0"/>
                </a:cxn>
              </a:cxnLst>
              <a:rect l="0" t="0" r="r" b="b"/>
              <a:pathLst>
                <a:path w="60" h="445">
                  <a:moveTo>
                    <a:pt x="3" y="0"/>
                  </a:moveTo>
                  <a:cubicBezTo>
                    <a:pt x="15" y="19"/>
                    <a:pt x="20" y="41"/>
                    <a:pt x="23" y="64"/>
                  </a:cubicBezTo>
                  <a:cubicBezTo>
                    <a:pt x="16" y="137"/>
                    <a:pt x="47" y="205"/>
                    <a:pt x="55" y="276"/>
                  </a:cubicBezTo>
                  <a:cubicBezTo>
                    <a:pt x="56" y="286"/>
                    <a:pt x="59" y="304"/>
                    <a:pt x="60" y="314"/>
                  </a:cubicBezTo>
                  <a:cubicBezTo>
                    <a:pt x="54" y="303"/>
                    <a:pt x="42" y="283"/>
                    <a:pt x="36" y="272"/>
                  </a:cubicBezTo>
                  <a:cubicBezTo>
                    <a:pt x="3" y="320"/>
                    <a:pt x="47" y="378"/>
                    <a:pt x="48" y="431"/>
                  </a:cubicBezTo>
                  <a:lnTo>
                    <a:pt x="46" y="445"/>
                  </a:lnTo>
                  <a:cubicBezTo>
                    <a:pt x="19" y="376"/>
                    <a:pt x="0" y="302"/>
                    <a:pt x="1" y="228"/>
                  </a:cubicBezTo>
                  <a:cubicBezTo>
                    <a:pt x="11" y="152"/>
                    <a:pt x="8" y="76"/>
                    <a:pt x="3" y="0"/>
                  </a:cubicBezTo>
                  <a:close/>
                </a:path>
              </a:pathLst>
            </a:custGeom>
            <a:solidFill>
              <a:srgbClr val="47484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67">
              <a:extLst>
                <a:ext uri="{FF2B5EF4-FFF2-40B4-BE49-F238E27FC236}">
                  <a16:creationId xmlns:a16="http://schemas.microsoft.com/office/drawing/2014/main" id="{38DDE357-A188-43FB-BEDD-D1CCC6FE6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" y="2862"/>
              <a:ext cx="13" cy="5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65" y="60"/>
                </a:cxn>
                <a:cxn ang="0">
                  <a:pos x="37" y="261"/>
                </a:cxn>
                <a:cxn ang="0">
                  <a:pos x="0" y="214"/>
                </a:cxn>
                <a:cxn ang="0">
                  <a:pos x="27" y="0"/>
                </a:cxn>
              </a:cxnLst>
              <a:rect l="0" t="0" r="r" b="b"/>
              <a:pathLst>
                <a:path w="65" h="261">
                  <a:moveTo>
                    <a:pt x="27" y="0"/>
                  </a:moveTo>
                  <a:cubicBezTo>
                    <a:pt x="40" y="20"/>
                    <a:pt x="52" y="40"/>
                    <a:pt x="65" y="60"/>
                  </a:cubicBezTo>
                  <a:cubicBezTo>
                    <a:pt x="63" y="128"/>
                    <a:pt x="54" y="195"/>
                    <a:pt x="37" y="261"/>
                  </a:cubicBezTo>
                  <a:cubicBezTo>
                    <a:pt x="24" y="245"/>
                    <a:pt x="12" y="229"/>
                    <a:pt x="0" y="214"/>
                  </a:cubicBezTo>
                  <a:cubicBezTo>
                    <a:pt x="13" y="143"/>
                    <a:pt x="24" y="72"/>
                    <a:pt x="27" y="0"/>
                  </a:cubicBezTo>
                </a:path>
              </a:pathLst>
            </a:custGeom>
            <a:solidFill>
              <a:srgbClr val="41424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68">
              <a:extLst>
                <a:ext uri="{FF2B5EF4-FFF2-40B4-BE49-F238E27FC236}">
                  <a16:creationId xmlns:a16="http://schemas.microsoft.com/office/drawing/2014/main" id="{78A7CD38-2E55-4782-B1E9-D0D18A5CA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03"/>
              <a:ext cx="144" cy="140"/>
            </a:xfrm>
            <a:custGeom>
              <a:avLst/>
              <a:gdLst/>
              <a:ahLst/>
              <a:cxnLst>
                <a:cxn ang="0">
                  <a:pos x="45" y="159"/>
                </a:cxn>
                <a:cxn ang="0">
                  <a:pos x="33" y="0"/>
                </a:cxn>
                <a:cxn ang="0">
                  <a:pos x="57" y="42"/>
                </a:cxn>
                <a:cxn ang="0">
                  <a:pos x="598" y="645"/>
                </a:cxn>
                <a:cxn ang="0">
                  <a:pos x="718" y="672"/>
                </a:cxn>
                <a:cxn ang="0">
                  <a:pos x="634" y="697"/>
                </a:cxn>
                <a:cxn ang="0">
                  <a:pos x="494" y="653"/>
                </a:cxn>
                <a:cxn ang="0">
                  <a:pos x="45" y="159"/>
                </a:cxn>
              </a:cxnLst>
              <a:rect l="0" t="0" r="r" b="b"/>
              <a:pathLst>
                <a:path w="718" h="697">
                  <a:moveTo>
                    <a:pt x="45" y="159"/>
                  </a:moveTo>
                  <a:cubicBezTo>
                    <a:pt x="44" y="106"/>
                    <a:pt x="0" y="48"/>
                    <a:pt x="33" y="0"/>
                  </a:cubicBezTo>
                  <a:cubicBezTo>
                    <a:pt x="39" y="11"/>
                    <a:pt x="51" y="31"/>
                    <a:pt x="57" y="42"/>
                  </a:cubicBezTo>
                  <a:cubicBezTo>
                    <a:pt x="118" y="319"/>
                    <a:pt x="323" y="563"/>
                    <a:pt x="598" y="645"/>
                  </a:cubicBezTo>
                  <a:cubicBezTo>
                    <a:pt x="637" y="658"/>
                    <a:pt x="677" y="666"/>
                    <a:pt x="718" y="672"/>
                  </a:cubicBezTo>
                  <a:cubicBezTo>
                    <a:pt x="690" y="679"/>
                    <a:pt x="662" y="689"/>
                    <a:pt x="634" y="697"/>
                  </a:cubicBezTo>
                  <a:cubicBezTo>
                    <a:pt x="589" y="677"/>
                    <a:pt x="541" y="667"/>
                    <a:pt x="494" y="653"/>
                  </a:cubicBezTo>
                  <a:cubicBezTo>
                    <a:pt x="282" y="566"/>
                    <a:pt x="107" y="380"/>
                    <a:pt x="45" y="159"/>
                  </a:cubicBezTo>
                </a:path>
              </a:pathLst>
            </a:custGeom>
            <a:solidFill>
              <a:srgbClr val="0202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69">
              <a:extLst>
                <a:ext uri="{FF2B5EF4-FFF2-40B4-BE49-F238E27FC236}">
                  <a16:creationId xmlns:a16="http://schemas.microsoft.com/office/drawing/2014/main" id="{9A2A7B08-DAB9-4DD7-9045-DC4BC7D00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" y="2903"/>
              <a:ext cx="131" cy="13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2" y="36"/>
                </a:cxn>
                <a:cxn ang="0">
                  <a:pos x="69" y="0"/>
                </a:cxn>
                <a:cxn ang="0">
                  <a:pos x="201" y="314"/>
                </a:cxn>
                <a:cxn ang="0">
                  <a:pos x="648" y="594"/>
                </a:cxn>
                <a:cxn ang="0">
                  <a:pos x="546" y="646"/>
                </a:cxn>
                <a:cxn ang="0">
                  <a:pos x="5" y="43"/>
                </a:cxn>
                <a:cxn ang="0">
                  <a:pos x="0" y="5"/>
                </a:cxn>
              </a:cxnLst>
              <a:rect l="0" t="0" r="r" b="b"/>
              <a:pathLst>
                <a:path w="648" h="646">
                  <a:moveTo>
                    <a:pt x="0" y="5"/>
                  </a:moveTo>
                  <a:cubicBezTo>
                    <a:pt x="17" y="15"/>
                    <a:pt x="35" y="26"/>
                    <a:pt x="52" y="36"/>
                  </a:cubicBezTo>
                  <a:cubicBezTo>
                    <a:pt x="56" y="27"/>
                    <a:pt x="65" y="9"/>
                    <a:pt x="69" y="0"/>
                  </a:cubicBezTo>
                  <a:cubicBezTo>
                    <a:pt x="95" y="111"/>
                    <a:pt x="134" y="221"/>
                    <a:pt x="201" y="314"/>
                  </a:cubicBezTo>
                  <a:cubicBezTo>
                    <a:pt x="301" y="467"/>
                    <a:pt x="473" y="557"/>
                    <a:pt x="648" y="594"/>
                  </a:cubicBezTo>
                  <a:cubicBezTo>
                    <a:pt x="608" y="598"/>
                    <a:pt x="552" y="592"/>
                    <a:pt x="546" y="646"/>
                  </a:cubicBezTo>
                  <a:cubicBezTo>
                    <a:pt x="271" y="564"/>
                    <a:pt x="66" y="320"/>
                    <a:pt x="5" y="43"/>
                  </a:cubicBezTo>
                  <a:cubicBezTo>
                    <a:pt x="4" y="33"/>
                    <a:pt x="1" y="15"/>
                    <a:pt x="0" y="5"/>
                  </a:cubicBezTo>
                </a:path>
              </a:pathLst>
            </a:custGeom>
            <a:solidFill>
              <a:srgbClr val="C9C9C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70">
              <a:extLst>
                <a:ext uri="{FF2B5EF4-FFF2-40B4-BE49-F238E27FC236}">
                  <a16:creationId xmlns:a16="http://schemas.microsoft.com/office/drawing/2014/main" id="{35B46CA5-1F54-4AA4-8895-D220FE83D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05"/>
              <a:ext cx="186" cy="149"/>
            </a:xfrm>
            <a:custGeom>
              <a:avLst/>
              <a:gdLst/>
              <a:ahLst/>
              <a:cxnLst>
                <a:cxn ang="0">
                  <a:pos x="889" y="0"/>
                </a:cxn>
                <a:cxn ang="0">
                  <a:pos x="926" y="47"/>
                </a:cxn>
                <a:cxn ang="0">
                  <a:pos x="460" y="645"/>
                </a:cxn>
                <a:cxn ang="0">
                  <a:pos x="79" y="740"/>
                </a:cxn>
                <a:cxn ang="0">
                  <a:pos x="0" y="688"/>
                </a:cxn>
                <a:cxn ang="0">
                  <a:pos x="73" y="687"/>
                </a:cxn>
                <a:cxn ang="0">
                  <a:pos x="750" y="336"/>
                </a:cxn>
                <a:cxn ang="0">
                  <a:pos x="889" y="0"/>
                </a:cxn>
              </a:cxnLst>
              <a:rect l="0" t="0" r="r" b="b"/>
              <a:pathLst>
                <a:path w="926" h="740">
                  <a:moveTo>
                    <a:pt x="889" y="0"/>
                  </a:moveTo>
                  <a:cubicBezTo>
                    <a:pt x="901" y="15"/>
                    <a:pt x="913" y="31"/>
                    <a:pt x="926" y="47"/>
                  </a:cubicBezTo>
                  <a:cubicBezTo>
                    <a:pt x="870" y="302"/>
                    <a:pt x="705" y="541"/>
                    <a:pt x="460" y="645"/>
                  </a:cubicBezTo>
                  <a:cubicBezTo>
                    <a:pt x="336" y="684"/>
                    <a:pt x="211" y="734"/>
                    <a:pt x="79" y="740"/>
                  </a:cubicBezTo>
                  <a:cubicBezTo>
                    <a:pt x="51" y="725"/>
                    <a:pt x="26" y="707"/>
                    <a:pt x="0" y="688"/>
                  </a:cubicBezTo>
                  <a:cubicBezTo>
                    <a:pt x="24" y="687"/>
                    <a:pt x="49" y="688"/>
                    <a:pt x="73" y="687"/>
                  </a:cubicBezTo>
                  <a:cubicBezTo>
                    <a:pt x="334" y="676"/>
                    <a:pt x="603" y="560"/>
                    <a:pt x="750" y="336"/>
                  </a:cubicBezTo>
                  <a:cubicBezTo>
                    <a:pt x="817" y="234"/>
                    <a:pt x="863" y="119"/>
                    <a:pt x="889" y="0"/>
                  </a:cubicBezTo>
                </a:path>
              </a:pathLst>
            </a:custGeom>
            <a:solidFill>
              <a:srgbClr val="292A2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71">
              <a:extLst>
                <a:ext uri="{FF2B5EF4-FFF2-40B4-BE49-F238E27FC236}">
                  <a16:creationId xmlns:a16="http://schemas.microsoft.com/office/drawing/2014/main" id="{2DE02AAF-ACF0-4124-A2A2-87A2CCB18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1" y="2963"/>
              <a:ext cx="136" cy="80"/>
            </a:xfrm>
            <a:custGeom>
              <a:avLst/>
              <a:gdLst/>
              <a:ahLst/>
              <a:cxnLst>
                <a:cxn ang="0">
                  <a:pos x="269" y="274"/>
                </a:cxn>
                <a:cxn ang="0">
                  <a:pos x="625" y="0"/>
                </a:cxn>
                <a:cxn ang="0">
                  <a:pos x="677" y="50"/>
                </a:cxn>
                <a:cxn ang="0">
                  <a:pos x="0" y="401"/>
                </a:cxn>
                <a:cxn ang="0">
                  <a:pos x="35" y="328"/>
                </a:cxn>
                <a:cxn ang="0">
                  <a:pos x="269" y="274"/>
                </a:cxn>
              </a:cxnLst>
              <a:rect l="0" t="0" r="r" b="b"/>
              <a:pathLst>
                <a:path w="677" h="401">
                  <a:moveTo>
                    <a:pt x="269" y="274"/>
                  </a:moveTo>
                  <a:cubicBezTo>
                    <a:pt x="415" y="227"/>
                    <a:pt x="541" y="128"/>
                    <a:pt x="625" y="0"/>
                  </a:cubicBezTo>
                  <a:cubicBezTo>
                    <a:pt x="642" y="17"/>
                    <a:pt x="660" y="34"/>
                    <a:pt x="677" y="50"/>
                  </a:cubicBezTo>
                  <a:cubicBezTo>
                    <a:pt x="530" y="274"/>
                    <a:pt x="261" y="390"/>
                    <a:pt x="0" y="401"/>
                  </a:cubicBezTo>
                  <a:cubicBezTo>
                    <a:pt x="12" y="376"/>
                    <a:pt x="23" y="352"/>
                    <a:pt x="35" y="328"/>
                  </a:cubicBezTo>
                  <a:cubicBezTo>
                    <a:pt x="114" y="313"/>
                    <a:pt x="194" y="303"/>
                    <a:pt x="269" y="274"/>
                  </a:cubicBezTo>
                  <a:close/>
                </a:path>
              </a:pathLst>
            </a:custGeom>
            <a:solidFill>
              <a:srgbClr val="D7D7D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72">
              <a:extLst>
                <a:ext uri="{FF2B5EF4-FFF2-40B4-BE49-F238E27FC236}">
                  <a16:creationId xmlns:a16="http://schemas.microsoft.com/office/drawing/2014/main" id="{4FEDCB88-534D-403E-85C3-822CD2340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022"/>
              <a:ext cx="460" cy="22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102" y="2"/>
                </a:cxn>
                <a:cxn ang="0">
                  <a:pos x="796" y="37"/>
                </a:cxn>
                <a:cxn ang="0">
                  <a:pos x="2289" y="38"/>
                </a:cxn>
                <a:cxn ang="0">
                  <a:pos x="2122" y="107"/>
                </a:cxn>
                <a:cxn ang="0">
                  <a:pos x="1857" y="108"/>
                </a:cxn>
                <a:cxn ang="0">
                  <a:pos x="1458" y="108"/>
                </a:cxn>
                <a:cxn ang="0">
                  <a:pos x="347" y="107"/>
                </a:cxn>
                <a:cxn ang="0">
                  <a:pos x="120" y="81"/>
                </a:cxn>
                <a:cxn ang="0">
                  <a:pos x="0" y="54"/>
                </a:cxn>
              </a:cxnLst>
              <a:rect l="0" t="0" r="r" b="b"/>
              <a:pathLst>
                <a:path w="2289" h="109">
                  <a:moveTo>
                    <a:pt x="0" y="54"/>
                  </a:moveTo>
                  <a:cubicBezTo>
                    <a:pt x="6" y="0"/>
                    <a:pt x="62" y="6"/>
                    <a:pt x="102" y="2"/>
                  </a:cubicBezTo>
                  <a:cubicBezTo>
                    <a:pt x="330" y="50"/>
                    <a:pt x="564" y="35"/>
                    <a:pt x="796" y="37"/>
                  </a:cubicBezTo>
                  <a:cubicBezTo>
                    <a:pt x="1294" y="37"/>
                    <a:pt x="1791" y="36"/>
                    <a:pt x="2289" y="38"/>
                  </a:cubicBezTo>
                  <a:cubicBezTo>
                    <a:pt x="2255" y="100"/>
                    <a:pt x="2167" y="55"/>
                    <a:pt x="2122" y="107"/>
                  </a:cubicBezTo>
                  <a:cubicBezTo>
                    <a:pt x="2034" y="108"/>
                    <a:pt x="1945" y="108"/>
                    <a:pt x="1857" y="108"/>
                  </a:cubicBezTo>
                  <a:cubicBezTo>
                    <a:pt x="1724" y="106"/>
                    <a:pt x="1591" y="109"/>
                    <a:pt x="1458" y="108"/>
                  </a:cubicBezTo>
                  <a:cubicBezTo>
                    <a:pt x="1088" y="106"/>
                    <a:pt x="718" y="109"/>
                    <a:pt x="347" y="107"/>
                  </a:cubicBezTo>
                  <a:cubicBezTo>
                    <a:pt x="271" y="105"/>
                    <a:pt x="196" y="89"/>
                    <a:pt x="120" y="81"/>
                  </a:cubicBezTo>
                  <a:cubicBezTo>
                    <a:pt x="79" y="75"/>
                    <a:pt x="39" y="67"/>
                    <a:pt x="0" y="54"/>
                  </a:cubicBezTo>
                </a:path>
              </a:pathLst>
            </a:custGeom>
            <a:solidFill>
              <a:srgbClr val="E3E3E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73">
              <a:extLst>
                <a:ext uri="{FF2B5EF4-FFF2-40B4-BE49-F238E27FC236}">
                  <a16:creationId xmlns:a16="http://schemas.microsoft.com/office/drawing/2014/main" id="{FD74645D-1DAA-4410-90C2-5417E70F2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" y="3029"/>
              <a:ext cx="1560" cy="1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7759" y="1"/>
                </a:cxn>
                <a:cxn ang="0">
                  <a:pos x="7632" y="73"/>
                </a:cxn>
                <a:cxn ang="0">
                  <a:pos x="6090" y="75"/>
                </a:cxn>
                <a:cxn ang="0">
                  <a:pos x="1724" y="72"/>
                </a:cxn>
                <a:cxn ang="0">
                  <a:pos x="1715" y="72"/>
                </a:cxn>
                <a:cxn ang="0">
                  <a:pos x="1500" y="72"/>
                </a:cxn>
                <a:cxn ang="0">
                  <a:pos x="1495" y="73"/>
                </a:cxn>
                <a:cxn ang="0">
                  <a:pos x="642" y="71"/>
                </a:cxn>
                <a:cxn ang="0">
                  <a:pos x="160" y="69"/>
                </a:cxn>
                <a:cxn ang="0">
                  <a:pos x="30" y="51"/>
                </a:cxn>
                <a:cxn ang="0">
                  <a:pos x="0" y="1"/>
                </a:cxn>
              </a:cxnLst>
              <a:rect l="0" t="0" r="r" b="b"/>
              <a:pathLst>
                <a:path w="7759" h="75">
                  <a:moveTo>
                    <a:pt x="0" y="1"/>
                  </a:moveTo>
                  <a:cubicBezTo>
                    <a:pt x="2586" y="2"/>
                    <a:pt x="5172" y="0"/>
                    <a:pt x="7759" y="1"/>
                  </a:cubicBezTo>
                  <a:cubicBezTo>
                    <a:pt x="7728" y="42"/>
                    <a:pt x="7682" y="65"/>
                    <a:pt x="7632" y="73"/>
                  </a:cubicBezTo>
                  <a:cubicBezTo>
                    <a:pt x="7118" y="74"/>
                    <a:pt x="6604" y="69"/>
                    <a:pt x="6090" y="75"/>
                  </a:cubicBezTo>
                  <a:cubicBezTo>
                    <a:pt x="4635" y="70"/>
                    <a:pt x="3179" y="75"/>
                    <a:pt x="1724" y="72"/>
                  </a:cubicBezTo>
                  <a:lnTo>
                    <a:pt x="1715" y="72"/>
                  </a:lnTo>
                  <a:cubicBezTo>
                    <a:pt x="1643" y="73"/>
                    <a:pt x="1572" y="70"/>
                    <a:pt x="1500" y="72"/>
                  </a:cubicBezTo>
                  <a:lnTo>
                    <a:pt x="1495" y="73"/>
                  </a:lnTo>
                  <a:cubicBezTo>
                    <a:pt x="1211" y="71"/>
                    <a:pt x="927" y="72"/>
                    <a:pt x="642" y="71"/>
                  </a:cubicBezTo>
                  <a:cubicBezTo>
                    <a:pt x="481" y="69"/>
                    <a:pt x="321" y="72"/>
                    <a:pt x="160" y="69"/>
                  </a:cubicBezTo>
                  <a:cubicBezTo>
                    <a:pt x="117" y="58"/>
                    <a:pt x="74" y="52"/>
                    <a:pt x="30" y="51"/>
                  </a:cubicBezTo>
                  <a:cubicBezTo>
                    <a:pt x="20" y="34"/>
                    <a:pt x="10" y="18"/>
                    <a:pt x="0" y="1"/>
                  </a:cubicBezTo>
                  <a:close/>
                </a:path>
              </a:pathLst>
            </a:custGeom>
            <a:solidFill>
              <a:srgbClr val="D5D6D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74">
              <a:extLst>
                <a:ext uri="{FF2B5EF4-FFF2-40B4-BE49-F238E27FC236}">
                  <a16:creationId xmlns:a16="http://schemas.microsoft.com/office/drawing/2014/main" id="{8C68FF11-EC93-406B-8413-3168927C1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" y="3029"/>
              <a:ext cx="198" cy="15"/>
            </a:xfrm>
            <a:custGeom>
              <a:avLst/>
              <a:gdLst/>
              <a:ahLst/>
              <a:cxnLst>
                <a:cxn ang="0">
                  <a:pos x="167" y="2"/>
                </a:cxn>
                <a:cxn ang="0">
                  <a:pos x="984" y="2"/>
                </a:cxn>
                <a:cxn ang="0">
                  <a:pos x="930" y="51"/>
                </a:cxn>
                <a:cxn ang="0">
                  <a:pos x="735" y="69"/>
                </a:cxn>
                <a:cxn ang="0">
                  <a:pos x="0" y="71"/>
                </a:cxn>
                <a:cxn ang="0">
                  <a:pos x="167" y="2"/>
                </a:cxn>
              </a:cxnLst>
              <a:rect l="0" t="0" r="r" b="b"/>
              <a:pathLst>
                <a:path w="984" h="74">
                  <a:moveTo>
                    <a:pt x="167" y="2"/>
                  </a:moveTo>
                  <a:cubicBezTo>
                    <a:pt x="439" y="0"/>
                    <a:pt x="711" y="1"/>
                    <a:pt x="984" y="2"/>
                  </a:cubicBezTo>
                  <a:cubicBezTo>
                    <a:pt x="971" y="22"/>
                    <a:pt x="959" y="51"/>
                    <a:pt x="930" y="51"/>
                  </a:cubicBezTo>
                  <a:cubicBezTo>
                    <a:pt x="865" y="60"/>
                    <a:pt x="798" y="48"/>
                    <a:pt x="735" y="69"/>
                  </a:cubicBezTo>
                  <a:cubicBezTo>
                    <a:pt x="490" y="74"/>
                    <a:pt x="245" y="71"/>
                    <a:pt x="0" y="71"/>
                  </a:cubicBezTo>
                  <a:cubicBezTo>
                    <a:pt x="45" y="19"/>
                    <a:pt x="133" y="64"/>
                    <a:pt x="167" y="2"/>
                  </a:cubicBezTo>
                </a:path>
              </a:pathLst>
            </a:custGeom>
            <a:solidFill>
              <a:srgbClr val="D1D1D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75">
              <a:extLst>
                <a:ext uri="{FF2B5EF4-FFF2-40B4-BE49-F238E27FC236}">
                  <a16:creationId xmlns:a16="http://schemas.microsoft.com/office/drawing/2014/main" id="{B16B7358-3B5F-40F0-B489-57F9F4EC9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" y="3029"/>
              <a:ext cx="773" cy="15"/>
            </a:xfrm>
            <a:custGeom>
              <a:avLst/>
              <a:gdLst/>
              <a:ahLst/>
              <a:cxnLst>
                <a:cxn ang="0">
                  <a:pos x="249" y="1"/>
                </a:cxn>
                <a:cxn ang="0">
                  <a:pos x="3686" y="0"/>
                </a:cxn>
                <a:cxn ang="0">
                  <a:pos x="3716" y="50"/>
                </a:cxn>
                <a:cxn ang="0">
                  <a:pos x="3846" y="68"/>
                </a:cxn>
                <a:cxn ang="0">
                  <a:pos x="1289" y="70"/>
                </a:cxn>
                <a:cxn ang="0">
                  <a:pos x="0" y="68"/>
                </a:cxn>
                <a:cxn ang="0">
                  <a:pos x="195" y="50"/>
                </a:cxn>
                <a:cxn ang="0">
                  <a:pos x="249" y="1"/>
                </a:cxn>
              </a:cxnLst>
              <a:rect l="0" t="0" r="r" b="b"/>
              <a:pathLst>
                <a:path w="3846" h="74">
                  <a:moveTo>
                    <a:pt x="249" y="1"/>
                  </a:moveTo>
                  <a:cubicBezTo>
                    <a:pt x="1394" y="0"/>
                    <a:pt x="2540" y="0"/>
                    <a:pt x="3686" y="0"/>
                  </a:cubicBezTo>
                  <a:cubicBezTo>
                    <a:pt x="3696" y="17"/>
                    <a:pt x="3706" y="33"/>
                    <a:pt x="3716" y="50"/>
                  </a:cubicBezTo>
                  <a:cubicBezTo>
                    <a:pt x="3760" y="51"/>
                    <a:pt x="3803" y="57"/>
                    <a:pt x="3846" y="68"/>
                  </a:cubicBezTo>
                  <a:cubicBezTo>
                    <a:pt x="2994" y="74"/>
                    <a:pt x="2142" y="68"/>
                    <a:pt x="1289" y="70"/>
                  </a:cubicBezTo>
                  <a:cubicBezTo>
                    <a:pt x="859" y="68"/>
                    <a:pt x="430" y="74"/>
                    <a:pt x="0" y="68"/>
                  </a:cubicBezTo>
                  <a:cubicBezTo>
                    <a:pt x="63" y="47"/>
                    <a:pt x="130" y="59"/>
                    <a:pt x="195" y="50"/>
                  </a:cubicBezTo>
                  <a:cubicBezTo>
                    <a:pt x="224" y="50"/>
                    <a:pt x="236" y="21"/>
                    <a:pt x="249" y="1"/>
                  </a:cubicBezTo>
                </a:path>
              </a:pathLst>
            </a:custGeom>
            <a:solidFill>
              <a:srgbClr val="C4C4C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76">
              <a:extLst>
                <a:ext uri="{FF2B5EF4-FFF2-40B4-BE49-F238E27FC236}">
                  <a16:creationId xmlns:a16="http://schemas.microsoft.com/office/drawing/2014/main" id="{2842D070-71A9-4B7B-901B-32B15B5C4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6" y="3029"/>
              <a:ext cx="282" cy="15"/>
            </a:xfrm>
            <a:custGeom>
              <a:avLst/>
              <a:gdLst/>
              <a:ahLst/>
              <a:cxnLst>
                <a:cxn ang="0">
                  <a:pos x="127" y="2"/>
                </a:cxn>
                <a:cxn ang="0">
                  <a:pos x="1404" y="0"/>
                </a:cxn>
                <a:cxn ang="0">
                  <a:pos x="1369" y="73"/>
                </a:cxn>
                <a:cxn ang="0">
                  <a:pos x="1296" y="74"/>
                </a:cxn>
                <a:cxn ang="0">
                  <a:pos x="647" y="73"/>
                </a:cxn>
                <a:cxn ang="0">
                  <a:pos x="290" y="73"/>
                </a:cxn>
                <a:cxn ang="0">
                  <a:pos x="0" y="74"/>
                </a:cxn>
                <a:cxn ang="0">
                  <a:pos x="127" y="2"/>
                </a:cxn>
              </a:cxnLst>
              <a:rect l="0" t="0" r="r" b="b"/>
              <a:pathLst>
                <a:path w="1404" h="74">
                  <a:moveTo>
                    <a:pt x="127" y="2"/>
                  </a:moveTo>
                  <a:cubicBezTo>
                    <a:pt x="553" y="0"/>
                    <a:pt x="978" y="5"/>
                    <a:pt x="1404" y="0"/>
                  </a:cubicBezTo>
                  <a:cubicBezTo>
                    <a:pt x="1392" y="24"/>
                    <a:pt x="1381" y="48"/>
                    <a:pt x="1369" y="73"/>
                  </a:cubicBezTo>
                  <a:cubicBezTo>
                    <a:pt x="1345" y="74"/>
                    <a:pt x="1320" y="73"/>
                    <a:pt x="1296" y="74"/>
                  </a:cubicBezTo>
                  <a:cubicBezTo>
                    <a:pt x="1080" y="73"/>
                    <a:pt x="863" y="72"/>
                    <a:pt x="647" y="73"/>
                  </a:cubicBezTo>
                  <a:cubicBezTo>
                    <a:pt x="528" y="73"/>
                    <a:pt x="409" y="72"/>
                    <a:pt x="290" y="73"/>
                  </a:cubicBezTo>
                  <a:cubicBezTo>
                    <a:pt x="193" y="74"/>
                    <a:pt x="97" y="73"/>
                    <a:pt x="0" y="74"/>
                  </a:cubicBezTo>
                  <a:cubicBezTo>
                    <a:pt x="50" y="66"/>
                    <a:pt x="96" y="43"/>
                    <a:pt x="127" y="2"/>
                  </a:cubicBezTo>
                  <a:close/>
                </a:path>
              </a:pathLst>
            </a:custGeom>
            <a:solidFill>
              <a:srgbClr val="E0E1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77">
              <a:extLst>
                <a:ext uri="{FF2B5EF4-FFF2-40B4-BE49-F238E27FC236}">
                  <a16:creationId xmlns:a16="http://schemas.microsoft.com/office/drawing/2014/main" id="{0E01213D-8DBE-4E09-BEFF-60A288C1B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" y="3034"/>
              <a:ext cx="3225" cy="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0" y="44"/>
                </a:cxn>
                <a:cxn ang="0">
                  <a:pos x="398" y="105"/>
                </a:cxn>
                <a:cxn ang="0">
                  <a:pos x="503" y="98"/>
                </a:cxn>
                <a:cxn ang="0">
                  <a:pos x="669" y="114"/>
                </a:cxn>
                <a:cxn ang="0">
                  <a:pos x="14668" y="114"/>
                </a:cxn>
                <a:cxn ang="0">
                  <a:pos x="15654" y="99"/>
                </a:cxn>
                <a:cxn ang="0">
                  <a:pos x="16035" y="4"/>
                </a:cxn>
                <a:cxn ang="0">
                  <a:pos x="15830" y="111"/>
                </a:cxn>
                <a:cxn ang="0">
                  <a:pos x="15717" y="127"/>
                </a:cxn>
                <a:cxn ang="0">
                  <a:pos x="1234" y="129"/>
                </a:cxn>
                <a:cxn ang="0">
                  <a:pos x="267" y="96"/>
                </a:cxn>
                <a:cxn ang="0">
                  <a:pos x="15" y="36"/>
                </a:cxn>
                <a:cxn ang="0">
                  <a:pos x="0" y="0"/>
                </a:cxn>
              </a:cxnLst>
              <a:rect l="0" t="0" r="r" b="b"/>
              <a:pathLst>
                <a:path w="16035" h="142">
                  <a:moveTo>
                    <a:pt x="0" y="0"/>
                  </a:moveTo>
                  <a:cubicBezTo>
                    <a:pt x="47" y="14"/>
                    <a:pt x="95" y="24"/>
                    <a:pt x="140" y="44"/>
                  </a:cubicBezTo>
                  <a:cubicBezTo>
                    <a:pt x="218" y="95"/>
                    <a:pt x="320" y="57"/>
                    <a:pt x="398" y="105"/>
                  </a:cubicBezTo>
                  <a:cubicBezTo>
                    <a:pt x="433" y="104"/>
                    <a:pt x="468" y="101"/>
                    <a:pt x="503" y="98"/>
                  </a:cubicBezTo>
                  <a:cubicBezTo>
                    <a:pt x="558" y="106"/>
                    <a:pt x="613" y="113"/>
                    <a:pt x="669" y="114"/>
                  </a:cubicBezTo>
                  <a:cubicBezTo>
                    <a:pt x="5335" y="115"/>
                    <a:pt x="10002" y="114"/>
                    <a:pt x="14668" y="114"/>
                  </a:cubicBezTo>
                  <a:cubicBezTo>
                    <a:pt x="14997" y="110"/>
                    <a:pt x="15326" y="125"/>
                    <a:pt x="15654" y="99"/>
                  </a:cubicBezTo>
                  <a:cubicBezTo>
                    <a:pt x="15786" y="93"/>
                    <a:pt x="15911" y="43"/>
                    <a:pt x="16035" y="4"/>
                  </a:cubicBezTo>
                  <a:cubicBezTo>
                    <a:pt x="15971" y="47"/>
                    <a:pt x="15897" y="73"/>
                    <a:pt x="15830" y="111"/>
                  </a:cubicBezTo>
                  <a:cubicBezTo>
                    <a:pt x="15796" y="133"/>
                    <a:pt x="15755" y="125"/>
                    <a:pt x="15717" y="127"/>
                  </a:cubicBezTo>
                  <a:cubicBezTo>
                    <a:pt x="10889" y="131"/>
                    <a:pt x="6061" y="128"/>
                    <a:pt x="1234" y="129"/>
                  </a:cubicBezTo>
                  <a:cubicBezTo>
                    <a:pt x="911" y="126"/>
                    <a:pt x="587" y="142"/>
                    <a:pt x="267" y="96"/>
                  </a:cubicBezTo>
                  <a:cubicBezTo>
                    <a:pt x="181" y="88"/>
                    <a:pt x="100" y="54"/>
                    <a:pt x="15" y="36"/>
                  </a:cubicBezTo>
                  <a:cubicBezTo>
                    <a:pt x="11" y="27"/>
                    <a:pt x="4" y="9"/>
                    <a:pt x="0" y="0"/>
                  </a:cubicBezTo>
                </a:path>
              </a:pathLst>
            </a:custGeom>
            <a:solidFill>
              <a:srgbClr val="A6A6A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78">
              <a:extLst>
                <a:ext uri="{FF2B5EF4-FFF2-40B4-BE49-F238E27FC236}">
                  <a16:creationId xmlns:a16="http://schemas.microsoft.com/office/drawing/2014/main" id="{A59362D7-16A9-4B8F-8A14-308A639B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2" y="3038"/>
              <a:ext cx="73" cy="17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311" y="26"/>
                </a:cxn>
                <a:cxn ang="0">
                  <a:pos x="295" y="48"/>
                </a:cxn>
                <a:cxn ang="0">
                  <a:pos x="363" y="79"/>
                </a:cxn>
                <a:cxn ang="0">
                  <a:pos x="258" y="86"/>
                </a:cxn>
                <a:cxn ang="0">
                  <a:pos x="0" y="25"/>
                </a:cxn>
                <a:cxn ang="0">
                  <a:pos x="84" y="0"/>
                </a:cxn>
              </a:cxnLst>
              <a:rect l="0" t="0" r="r" b="b"/>
              <a:pathLst>
                <a:path w="363" h="86">
                  <a:moveTo>
                    <a:pt x="84" y="0"/>
                  </a:moveTo>
                  <a:cubicBezTo>
                    <a:pt x="160" y="8"/>
                    <a:pt x="235" y="24"/>
                    <a:pt x="311" y="26"/>
                  </a:cubicBezTo>
                  <a:lnTo>
                    <a:pt x="295" y="48"/>
                  </a:lnTo>
                  <a:cubicBezTo>
                    <a:pt x="318" y="57"/>
                    <a:pt x="341" y="65"/>
                    <a:pt x="363" y="79"/>
                  </a:cubicBezTo>
                  <a:cubicBezTo>
                    <a:pt x="328" y="82"/>
                    <a:pt x="293" y="85"/>
                    <a:pt x="258" y="86"/>
                  </a:cubicBezTo>
                  <a:cubicBezTo>
                    <a:pt x="180" y="38"/>
                    <a:pt x="78" y="76"/>
                    <a:pt x="0" y="25"/>
                  </a:cubicBezTo>
                  <a:cubicBezTo>
                    <a:pt x="28" y="17"/>
                    <a:pt x="56" y="7"/>
                    <a:pt x="84" y="0"/>
                  </a:cubicBezTo>
                  <a:close/>
                </a:path>
              </a:pathLst>
            </a:custGeom>
            <a:solidFill>
              <a:srgbClr val="7475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79">
              <a:extLst>
                <a:ext uri="{FF2B5EF4-FFF2-40B4-BE49-F238E27FC236}">
                  <a16:creationId xmlns:a16="http://schemas.microsoft.com/office/drawing/2014/main" id="{2C625B1D-FB26-470F-9139-966D71B99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" y="3043"/>
              <a:ext cx="239" cy="14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6" y="1"/>
                </a:cxn>
                <a:cxn ang="0">
                  <a:pos x="1127" y="2"/>
                </a:cxn>
                <a:cxn ang="0">
                  <a:pos x="1189" y="32"/>
                </a:cxn>
                <a:cxn ang="0">
                  <a:pos x="982" y="47"/>
                </a:cxn>
                <a:cxn ang="0">
                  <a:pos x="198" y="49"/>
                </a:cxn>
                <a:cxn ang="0">
                  <a:pos x="234" y="70"/>
                </a:cxn>
                <a:cxn ang="0">
                  <a:pos x="68" y="54"/>
                </a:cxn>
                <a:cxn ang="0">
                  <a:pos x="0" y="23"/>
                </a:cxn>
              </a:cxnLst>
              <a:rect l="0" t="0" r="r" b="b"/>
              <a:pathLst>
                <a:path w="1189" h="70">
                  <a:moveTo>
                    <a:pt x="0" y="23"/>
                  </a:moveTo>
                  <a:lnTo>
                    <a:pt x="16" y="1"/>
                  </a:lnTo>
                  <a:cubicBezTo>
                    <a:pt x="387" y="3"/>
                    <a:pt x="757" y="0"/>
                    <a:pt x="1127" y="2"/>
                  </a:cubicBezTo>
                  <a:cubicBezTo>
                    <a:pt x="1148" y="11"/>
                    <a:pt x="1169" y="21"/>
                    <a:pt x="1189" y="32"/>
                  </a:cubicBezTo>
                  <a:cubicBezTo>
                    <a:pt x="1122" y="53"/>
                    <a:pt x="1051" y="45"/>
                    <a:pt x="982" y="47"/>
                  </a:cubicBezTo>
                  <a:cubicBezTo>
                    <a:pt x="721" y="48"/>
                    <a:pt x="459" y="45"/>
                    <a:pt x="198" y="49"/>
                  </a:cubicBezTo>
                  <a:cubicBezTo>
                    <a:pt x="207" y="54"/>
                    <a:pt x="225" y="65"/>
                    <a:pt x="234" y="70"/>
                  </a:cubicBezTo>
                  <a:cubicBezTo>
                    <a:pt x="178" y="69"/>
                    <a:pt x="123" y="62"/>
                    <a:pt x="68" y="54"/>
                  </a:cubicBezTo>
                  <a:cubicBezTo>
                    <a:pt x="46" y="40"/>
                    <a:pt x="23" y="32"/>
                    <a:pt x="0" y="23"/>
                  </a:cubicBezTo>
                  <a:close/>
                </a:path>
              </a:pathLst>
            </a:custGeom>
            <a:solidFill>
              <a:srgbClr val="8F8F9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80">
              <a:extLst>
                <a:ext uri="{FF2B5EF4-FFF2-40B4-BE49-F238E27FC236}">
                  <a16:creationId xmlns:a16="http://schemas.microsoft.com/office/drawing/2014/main" id="{6BDE90C8-102F-4160-A381-7ECA1900E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2" y="3043"/>
              <a:ext cx="3020" cy="16"/>
            </a:xfrm>
            <a:custGeom>
              <a:avLst/>
              <a:gdLst/>
              <a:ahLst/>
              <a:cxnLst>
                <a:cxn ang="0">
                  <a:pos x="929" y="2"/>
                </a:cxn>
                <a:cxn ang="0">
                  <a:pos x="1328" y="2"/>
                </a:cxn>
                <a:cxn ang="0">
                  <a:pos x="1433" y="52"/>
                </a:cxn>
                <a:cxn ang="0">
                  <a:pos x="2883" y="54"/>
                </a:cxn>
                <a:cxn ang="0">
                  <a:pos x="3243" y="38"/>
                </a:cxn>
                <a:cxn ang="0">
                  <a:pos x="3350" y="55"/>
                </a:cxn>
                <a:cxn ang="0">
                  <a:pos x="4784" y="51"/>
                </a:cxn>
                <a:cxn ang="0">
                  <a:pos x="5384" y="55"/>
                </a:cxn>
                <a:cxn ang="0">
                  <a:pos x="5619" y="44"/>
                </a:cxn>
                <a:cxn ang="0">
                  <a:pos x="5805" y="40"/>
                </a:cxn>
                <a:cxn ang="0">
                  <a:pos x="6117" y="56"/>
                </a:cxn>
                <a:cxn ang="0">
                  <a:pos x="6753" y="56"/>
                </a:cxn>
                <a:cxn ang="0">
                  <a:pos x="7233" y="54"/>
                </a:cxn>
                <a:cxn ang="0">
                  <a:pos x="7451" y="50"/>
                </a:cxn>
                <a:cxn ang="0">
                  <a:pos x="7509" y="3"/>
                </a:cxn>
                <a:cxn ang="0">
                  <a:pos x="7514" y="2"/>
                </a:cxn>
                <a:cxn ang="0">
                  <a:pos x="7523" y="32"/>
                </a:cxn>
                <a:cxn ang="0">
                  <a:pos x="7727" y="51"/>
                </a:cxn>
                <a:cxn ang="0">
                  <a:pos x="7729" y="2"/>
                </a:cxn>
                <a:cxn ang="0">
                  <a:pos x="7738" y="2"/>
                </a:cxn>
                <a:cxn ang="0">
                  <a:pos x="7739" y="32"/>
                </a:cxn>
                <a:cxn ang="0">
                  <a:pos x="7967" y="42"/>
                </a:cxn>
                <a:cxn ang="0">
                  <a:pos x="8101" y="47"/>
                </a:cxn>
                <a:cxn ang="0">
                  <a:pos x="11418" y="53"/>
                </a:cxn>
                <a:cxn ang="0">
                  <a:pos x="11876" y="50"/>
                </a:cxn>
                <a:cxn ang="0">
                  <a:pos x="12817" y="57"/>
                </a:cxn>
                <a:cxn ang="0">
                  <a:pos x="13882" y="52"/>
                </a:cxn>
                <a:cxn ang="0">
                  <a:pos x="14120" y="44"/>
                </a:cxn>
                <a:cxn ang="0">
                  <a:pos x="14293" y="2"/>
                </a:cxn>
                <a:cxn ang="0">
                  <a:pos x="14942" y="3"/>
                </a:cxn>
                <a:cxn ang="0">
                  <a:pos x="15021" y="55"/>
                </a:cxn>
                <a:cxn ang="0">
                  <a:pos x="14035" y="70"/>
                </a:cxn>
                <a:cxn ang="0">
                  <a:pos x="36" y="70"/>
                </a:cxn>
                <a:cxn ang="0">
                  <a:pos x="0" y="49"/>
                </a:cxn>
                <a:cxn ang="0">
                  <a:pos x="784" y="47"/>
                </a:cxn>
                <a:cxn ang="0">
                  <a:pos x="991" y="32"/>
                </a:cxn>
                <a:cxn ang="0">
                  <a:pos x="929" y="2"/>
                </a:cxn>
              </a:cxnLst>
              <a:rect l="0" t="0" r="r" b="b"/>
              <a:pathLst>
                <a:path w="15021" h="81">
                  <a:moveTo>
                    <a:pt x="929" y="2"/>
                  </a:moveTo>
                  <a:cubicBezTo>
                    <a:pt x="1062" y="3"/>
                    <a:pt x="1195" y="0"/>
                    <a:pt x="1328" y="2"/>
                  </a:cubicBezTo>
                  <a:cubicBezTo>
                    <a:pt x="1355" y="33"/>
                    <a:pt x="1389" y="58"/>
                    <a:pt x="1433" y="52"/>
                  </a:cubicBezTo>
                  <a:cubicBezTo>
                    <a:pt x="1916" y="53"/>
                    <a:pt x="2400" y="60"/>
                    <a:pt x="2883" y="54"/>
                  </a:cubicBezTo>
                  <a:cubicBezTo>
                    <a:pt x="3003" y="56"/>
                    <a:pt x="3124" y="59"/>
                    <a:pt x="3243" y="38"/>
                  </a:cubicBezTo>
                  <a:cubicBezTo>
                    <a:pt x="3280" y="28"/>
                    <a:pt x="3313" y="55"/>
                    <a:pt x="3350" y="55"/>
                  </a:cubicBezTo>
                  <a:cubicBezTo>
                    <a:pt x="3828" y="48"/>
                    <a:pt x="4306" y="56"/>
                    <a:pt x="4784" y="51"/>
                  </a:cubicBezTo>
                  <a:cubicBezTo>
                    <a:pt x="4984" y="56"/>
                    <a:pt x="5184" y="49"/>
                    <a:pt x="5384" y="55"/>
                  </a:cubicBezTo>
                  <a:cubicBezTo>
                    <a:pt x="5463" y="60"/>
                    <a:pt x="5540" y="31"/>
                    <a:pt x="5619" y="44"/>
                  </a:cubicBezTo>
                  <a:cubicBezTo>
                    <a:pt x="5681" y="55"/>
                    <a:pt x="5744" y="50"/>
                    <a:pt x="5805" y="40"/>
                  </a:cubicBezTo>
                  <a:cubicBezTo>
                    <a:pt x="5909" y="42"/>
                    <a:pt x="6013" y="49"/>
                    <a:pt x="6117" y="56"/>
                  </a:cubicBezTo>
                  <a:cubicBezTo>
                    <a:pt x="6329" y="51"/>
                    <a:pt x="6541" y="62"/>
                    <a:pt x="6753" y="56"/>
                  </a:cubicBezTo>
                  <a:cubicBezTo>
                    <a:pt x="6913" y="58"/>
                    <a:pt x="7073" y="41"/>
                    <a:pt x="7233" y="54"/>
                  </a:cubicBezTo>
                  <a:cubicBezTo>
                    <a:pt x="7306" y="51"/>
                    <a:pt x="7379" y="51"/>
                    <a:pt x="7451" y="50"/>
                  </a:cubicBezTo>
                  <a:cubicBezTo>
                    <a:pt x="7484" y="57"/>
                    <a:pt x="7503" y="32"/>
                    <a:pt x="7509" y="3"/>
                  </a:cubicBezTo>
                  <a:lnTo>
                    <a:pt x="7514" y="2"/>
                  </a:lnTo>
                  <a:cubicBezTo>
                    <a:pt x="7516" y="9"/>
                    <a:pt x="7521" y="25"/>
                    <a:pt x="7523" y="32"/>
                  </a:cubicBezTo>
                  <a:cubicBezTo>
                    <a:pt x="7589" y="52"/>
                    <a:pt x="7659" y="52"/>
                    <a:pt x="7727" y="51"/>
                  </a:cubicBezTo>
                  <a:cubicBezTo>
                    <a:pt x="7728" y="39"/>
                    <a:pt x="7729" y="14"/>
                    <a:pt x="7729" y="2"/>
                  </a:cubicBezTo>
                  <a:lnTo>
                    <a:pt x="7738" y="2"/>
                  </a:lnTo>
                  <a:cubicBezTo>
                    <a:pt x="7738" y="10"/>
                    <a:pt x="7739" y="25"/>
                    <a:pt x="7739" y="32"/>
                  </a:cubicBezTo>
                  <a:cubicBezTo>
                    <a:pt x="7815" y="36"/>
                    <a:pt x="7891" y="61"/>
                    <a:pt x="7967" y="42"/>
                  </a:cubicBezTo>
                  <a:cubicBezTo>
                    <a:pt x="8012" y="28"/>
                    <a:pt x="8056" y="43"/>
                    <a:pt x="8101" y="47"/>
                  </a:cubicBezTo>
                  <a:cubicBezTo>
                    <a:pt x="9206" y="50"/>
                    <a:pt x="10312" y="49"/>
                    <a:pt x="11418" y="53"/>
                  </a:cubicBezTo>
                  <a:cubicBezTo>
                    <a:pt x="11571" y="53"/>
                    <a:pt x="11723" y="50"/>
                    <a:pt x="11876" y="50"/>
                  </a:cubicBezTo>
                  <a:cubicBezTo>
                    <a:pt x="12190" y="67"/>
                    <a:pt x="12504" y="50"/>
                    <a:pt x="12817" y="57"/>
                  </a:cubicBezTo>
                  <a:cubicBezTo>
                    <a:pt x="13172" y="51"/>
                    <a:pt x="13527" y="53"/>
                    <a:pt x="13882" y="52"/>
                  </a:cubicBezTo>
                  <a:cubicBezTo>
                    <a:pt x="13961" y="52"/>
                    <a:pt x="14042" y="63"/>
                    <a:pt x="14120" y="44"/>
                  </a:cubicBezTo>
                  <a:cubicBezTo>
                    <a:pt x="14178" y="28"/>
                    <a:pt x="14249" y="55"/>
                    <a:pt x="14293" y="2"/>
                  </a:cubicBezTo>
                  <a:cubicBezTo>
                    <a:pt x="14509" y="1"/>
                    <a:pt x="14726" y="2"/>
                    <a:pt x="14942" y="3"/>
                  </a:cubicBezTo>
                  <a:cubicBezTo>
                    <a:pt x="14968" y="22"/>
                    <a:pt x="14993" y="40"/>
                    <a:pt x="15021" y="55"/>
                  </a:cubicBezTo>
                  <a:cubicBezTo>
                    <a:pt x="14693" y="81"/>
                    <a:pt x="14364" y="66"/>
                    <a:pt x="14035" y="70"/>
                  </a:cubicBezTo>
                  <a:cubicBezTo>
                    <a:pt x="9369" y="70"/>
                    <a:pt x="4702" y="71"/>
                    <a:pt x="36" y="70"/>
                  </a:cubicBezTo>
                  <a:cubicBezTo>
                    <a:pt x="27" y="65"/>
                    <a:pt x="9" y="54"/>
                    <a:pt x="0" y="49"/>
                  </a:cubicBezTo>
                  <a:cubicBezTo>
                    <a:pt x="261" y="45"/>
                    <a:pt x="523" y="48"/>
                    <a:pt x="784" y="47"/>
                  </a:cubicBezTo>
                  <a:cubicBezTo>
                    <a:pt x="853" y="45"/>
                    <a:pt x="924" y="53"/>
                    <a:pt x="991" y="32"/>
                  </a:cubicBezTo>
                  <a:cubicBezTo>
                    <a:pt x="971" y="21"/>
                    <a:pt x="950" y="11"/>
                    <a:pt x="929" y="2"/>
                  </a:cubicBezTo>
                </a:path>
              </a:pathLst>
            </a:custGeom>
            <a:solidFill>
              <a:srgbClr val="6D6E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81">
              <a:extLst>
                <a:ext uri="{FF2B5EF4-FFF2-40B4-BE49-F238E27FC236}">
                  <a16:creationId xmlns:a16="http://schemas.microsoft.com/office/drawing/2014/main" id="{390BAE19-CCBE-49ED-8DAB-58DA6F959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" y="3043"/>
              <a:ext cx="1090" cy="1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65" y="2"/>
                </a:cxn>
                <a:cxn ang="0">
                  <a:pos x="1000" y="0"/>
                </a:cxn>
                <a:cxn ang="0">
                  <a:pos x="2289" y="2"/>
                </a:cxn>
                <a:cxn ang="0">
                  <a:pos x="4846" y="0"/>
                </a:cxn>
                <a:cxn ang="0">
                  <a:pos x="5328" y="2"/>
                </a:cxn>
                <a:cxn ang="0">
                  <a:pos x="5425" y="57"/>
                </a:cxn>
                <a:cxn ang="0">
                  <a:pos x="4789" y="57"/>
                </a:cxn>
                <a:cxn ang="0">
                  <a:pos x="4477" y="41"/>
                </a:cxn>
                <a:cxn ang="0">
                  <a:pos x="4291" y="45"/>
                </a:cxn>
                <a:cxn ang="0">
                  <a:pos x="4056" y="56"/>
                </a:cxn>
                <a:cxn ang="0">
                  <a:pos x="3456" y="52"/>
                </a:cxn>
                <a:cxn ang="0">
                  <a:pos x="2022" y="56"/>
                </a:cxn>
                <a:cxn ang="0">
                  <a:pos x="1915" y="39"/>
                </a:cxn>
                <a:cxn ang="0">
                  <a:pos x="1555" y="55"/>
                </a:cxn>
                <a:cxn ang="0">
                  <a:pos x="105" y="53"/>
                </a:cxn>
                <a:cxn ang="0">
                  <a:pos x="0" y="3"/>
                </a:cxn>
              </a:cxnLst>
              <a:rect l="0" t="0" r="r" b="b"/>
              <a:pathLst>
                <a:path w="5425" h="63">
                  <a:moveTo>
                    <a:pt x="0" y="3"/>
                  </a:moveTo>
                  <a:cubicBezTo>
                    <a:pt x="88" y="3"/>
                    <a:pt x="177" y="3"/>
                    <a:pt x="265" y="2"/>
                  </a:cubicBezTo>
                  <a:cubicBezTo>
                    <a:pt x="510" y="2"/>
                    <a:pt x="755" y="5"/>
                    <a:pt x="1000" y="0"/>
                  </a:cubicBezTo>
                  <a:cubicBezTo>
                    <a:pt x="1430" y="6"/>
                    <a:pt x="1859" y="0"/>
                    <a:pt x="2289" y="2"/>
                  </a:cubicBezTo>
                  <a:cubicBezTo>
                    <a:pt x="3142" y="0"/>
                    <a:pt x="3994" y="6"/>
                    <a:pt x="4846" y="0"/>
                  </a:cubicBezTo>
                  <a:cubicBezTo>
                    <a:pt x="5007" y="3"/>
                    <a:pt x="5167" y="0"/>
                    <a:pt x="5328" y="2"/>
                  </a:cubicBezTo>
                  <a:cubicBezTo>
                    <a:pt x="5346" y="40"/>
                    <a:pt x="5388" y="49"/>
                    <a:pt x="5425" y="57"/>
                  </a:cubicBezTo>
                  <a:cubicBezTo>
                    <a:pt x="5213" y="63"/>
                    <a:pt x="5001" y="52"/>
                    <a:pt x="4789" y="57"/>
                  </a:cubicBezTo>
                  <a:cubicBezTo>
                    <a:pt x="4685" y="50"/>
                    <a:pt x="4581" y="43"/>
                    <a:pt x="4477" y="41"/>
                  </a:cubicBezTo>
                  <a:cubicBezTo>
                    <a:pt x="4416" y="51"/>
                    <a:pt x="4353" y="56"/>
                    <a:pt x="4291" y="45"/>
                  </a:cubicBezTo>
                  <a:cubicBezTo>
                    <a:pt x="4212" y="32"/>
                    <a:pt x="4135" y="61"/>
                    <a:pt x="4056" y="56"/>
                  </a:cubicBezTo>
                  <a:cubicBezTo>
                    <a:pt x="3856" y="50"/>
                    <a:pt x="3656" y="57"/>
                    <a:pt x="3456" y="52"/>
                  </a:cubicBezTo>
                  <a:cubicBezTo>
                    <a:pt x="2978" y="57"/>
                    <a:pt x="2500" y="49"/>
                    <a:pt x="2022" y="56"/>
                  </a:cubicBezTo>
                  <a:cubicBezTo>
                    <a:pt x="1985" y="56"/>
                    <a:pt x="1952" y="29"/>
                    <a:pt x="1915" y="39"/>
                  </a:cubicBezTo>
                  <a:cubicBezTo>
                    <a:pt x="1796" y="60"/>
                    <a:pt x="1675" y="57"/>
                    <a:pt x="1555" y="55"/>
                  </a:cubicBezTo>
                  <a:cubicBezTo>
                    <a:pt x="1072" y="61"/>
                    <a:pt x="588" y="54"/>
                    <a:pt x="105" y="53"/>
                  </a:cubicBezTo>
                  <a:cubicBezTo>
                    <a:pt x="61" y="59"/>
                    <a:pt x="27" y="34"/>
                    <a:pt x="0" y="3"/>
                  </a:cubicBezTo>
                </a:path>
              </a:pathLst>
            </a:custGeom>
            <a:solidFill>
              <a:srgbClr val="4A4C4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82">
              <a:extLst>
                <a:ext uri="{FF2B5EF4-FFF2-40B4-BE49-F238E27FC236}">
                  <a16:creationId xmlns:a16="http://schemas.microsoft.com/office/drawing/2014/main" id="{A77877B8-4B01-483E-9FFD-EF68DBAF8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0" y="3043"/>
              <a:ext cx="172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53" y="2"/>
                </a:cxn>
                <a:cxn ang="0">
                  <a:pos x="795" y="49"/>
                </a:cxn>
                <a:cxn ang="0">
                  <a:pos x="577" y="53"/>
                </a:cxn>
                <a:cxn ang="0">
                  <a:pos x="97" y="55"/>
                </a:cxn>
                <a:cxn ang="0">
                  <a:pos x="0" y="0"/>
                </a:cxn>
              </a:cxnLst>
              <a:rect l="0" t="0" r="r" b="b"/>
              <a:pathLst>
                <a:path w="853" h="57">
                  <a:moveTo>
                    <a:pt x="0" y="0"/>
                  </a:moveTo>
                  <a:cubicBezTo>
                    <a:pt x="285" y="1"/>
                    <a:pt x="569" y="0"/>
                    <a:pt x="853" y="2"/>
                  </a:cubicBezTo>
                  <a:cubicBezTo>
                    <a:pt x="847" y="31"/>
                    <a:pt x="828" y="56"/>
                    <a:pt x="795" y="49"/>
                  </a:cubicBezTo>
                  <a:cubicBezTo>
                    <a:pt x="723" y="50"/>
                    <a:pt x="650" y="50"/>
                    <a:pt x="577" y="53"/>
                  </a:cubicBezTo>
                  <a:cubicBezTo>
                    <a:pt x="417" y="40"/>
                    <a:pt x="257" y="57"/>
                    <a:pt x="97" y="55"/>
                  </a:cubicBezTo>
                  <a:cubicBezTo>
                    <a:pt x="60" y="47"/>
                    <a:pt x="18" y="38"/>
                    <a:pt x="0" y="0"/>
                  </a:cubicBezTo>
                  <a:close/>
                </a:path>
              </a:pathLst>
            </a:custGeom>
            <a:solidFill>
              <a:srgbClr val="38393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83">
              <a:extLst>
                <a:ext uri="{FF2B5EF4-FFF2-40B4-BE49-F238E27FC236}">
                  <a16:creationId xmlns:a16="http://schemas.microsoft.com/office/drawing/2014/main" id="{47CF65B2-6C5C-424B-899E-B779E28D4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043"/>
              <a:ext cx="43" cy="1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15" y="2"/>
                </a:cxn>
                <a:cxn ang="0">
                  <a:pos x="213" y="51"/>
                </a:cxn>
                <a:cxn ang="0">
                  <a:pos x="9" y="32"/>
                </a:cxn>
                <a:cxn ang="0">
                  <a:pos x="0" y="2"/>
                </a:cxn>
              </a:cxnLst>
              <a:rect l="0" t="0" r="r" b="b"/>
              <a:pathLst>
                <a:path w="215" h="52">
                  <a:moveTo>
                    <a:pt x="0" y="2"/>
                  </a:moveTo>
                  <a:cubicBezTo>
                    <a:pt x="72" y="0"/>
                    <a:pt x="143" y="3"/>
                    <a:pt x="215" y="2"/>
                  </a:cubicBezTo>
                  <a:cubicBezTo>
                    <a:pt x="215" y="14"/>
                    <a:pt x="214" y="39"/>
                    <a:pt x="213" y="51"/>
                  </a:cubicBezTo>
                  <a:cubicBezTo>
                    <a:pt x="145" y="52"/>
                    <a:pt x="75" y="52"/>
                    <a:pt x="9" y="32"/>
                  </a:cubicBezTo>
                  <a:cubicBezTo>
                    <a:pt x="7" y="25"/>
                    <a:pt x="2" y="9"/>
                    <a:pt x="0" y="2"/>
                  </a:cubicBezTo>
                  <a:close/>
                </a:path>
              </a:pathLst>
            </a:custGeom>
            <a:solidFill>
              <a:srgbClr val="38393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84">
              <a:extLst>
                <a:ext uri="{FF2B5EF4-FFF2-40B4-BE49-F238E27FC236}">
                  <a16:creationId xmlns:a16="http://schemas.microsoft.com/office/drawing/2014/main" id="{FE6913F6-F056-4425-AA52-730BA0CF8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8" y="3043"/>
              <a:ext cx="897" cy="1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366" y="5"/>
                </a:cxn>
                <a:cxn ang="0">
                  <a:pos x="4462" y="36"/>
                </a:cxn>
                <a:cxn ang="0">
                  <a:pos x="4138" y="50"/>
                </a:cxn>
                <a:cxn ang="0">
                  <a:pos x="3680" y="53"/>
                </a:cxn>
                <a:cxn ang="0">
                  <a:pos x="363" y="47"/>
                </a:cxn>
                <a:cxn ang="0">
                  <a:pos x="229" y="42"/>
                </a:cxn>
                <a:cxn ang="0">
                  <a:pos x="1" y="32"/>
                </a:cxn>
                <a:cxn ang="0">
                  <a:pos x="0" y="2"/>
                </a:cxn>
              </a:cxnLst>
              <a:rect l="0" t="0" r="r" b="b"/>
              <a:pathLst>
                <a:path w="4462" h="61">
                  <a:moveTo>
                    <a:pt x="0" y="2"/>
                  </a:moveTo>
                  <a:cubicBezTo>
                    <a:pt x="1455" y="5"/>
                    <a:pt x="2911" y="0"/>
                    <a:pt x="4366" y="5"/>
                  </a:cubicBezTo>
                  <a:cubicBezTo>
                    <a:pt x="4396" y="21"/>
                    <a:pt x="4428" y="31"/>
                    <a:pt x="4462" y="36"/>
                  </a:cubicBezTo>
                  <a:cubicBezTo>
                    <a:pt x="4354" y="34"/>
                    <a:pt x="4242" y="15"/>
                    <a:pt x="4138" y="50"/>
                  </a:cubicBezTo>
                  <a:cubicBezTo>
                    <a:pt x="3985" y="50"/>
                    <a:pt x="3833" y="53"/>
                    <a:pt x="3680" y="53"/>
                  </a:cubicBezTo>
                  <a:cubicBezTo>
                    <a:pt x="2574" y="49"/>
                    <a:pt x="1468" y="50"/>
                    <a:pt x="363" y="47"/>
                  </a:cubicBezTo>
                  <a:cubicBezTo>
                    <a:pt x="318" y="43"/>
                    <a:pt x="274" y="28"/>
                    <a:pt x="229" y="42"/>
                  </a:cubicBezTo>
                  <a:cubicBezTo>
                    <a:pt x="153" y="61"/>
                    <a:pt x="77" y="36"/>
                    <a:pt x="1" y="32"/>
                  </a:cubicBezTo>
                  <a:cubicBezTo>
                    <a:pt x="1" y="25"/>
                    <a:pt x="0" y="10"/>
                    <a:pt x="0" y="2"/>
                  </a:cubicBezTo>
                  <a:close/>
                </a:path>
              </a:pathLst>
            </a:custGeom>
            <a:solidFill>
              <a:srgbClr val="1819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85">
              <a:extLst>
                <a:ext uri="{FF2B5EF4-FFF2-40B4-BE49-F238E27FC236}">
                  <a16:creationId xmlns:a16="http://schemas.microsoft.com/office/drawing/2014/main" id="{4536ABA2-9557-4520-9AD3-858686490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3043"/>
              <a:ext cx="414" cy="13"/>
            </a:xfrm>
            <a:custGeom>
              <a:avLst/>
              <a:gdLst/>
              <a:ahLst/>
              <a:cxnLst>
                <a:cxn ang="0">
                  <a:pos x="228" y="6"/>
                </a:cxn>
                <a:cxn ang="0">
                  <a:pos x="1770" y="4"/>
                </a:cxn>
                <a:cxn ang="0">
                  <a:pos x="2060" y="3"/>
                </a:cxn>
                <a:cxn ang="0">
                  <a:pos x="2006" y="53"/>
                </a:cxn>
                <a:cxn ang="0">
                  <a:pos x="941" y="58"/>
                </a:cxn>
                <a:cxn ang="0">
                  <a:pos x="0" y="51"/>
                </a:cxn>
                <a:cxn ang="0">
                  <a:pos x="324" y="37"/>
                </a:cxn>
                <a:cxn ang="0">
                  <a:pos x="228" y="6"/>
                </a:cxn>
              </a:cxnLst>
              <a:rect l="0" t="0" r="r" b="b"/>
              <a:pathLst>
                <a:path w="2060" h="68">
                  <a:moveTo>
                    <a:pt x="228" y="6"/>
                  </a:moveTo>
                  <a:cubicBezTo>
                    <a:pt x="742" y="0"/>
                    <a:pt x="1256" y="5"/>
                    <a:pt x="1770" y="4"/>
                  </a:cubicBezTo>
                  <a:cubicBezTo>
                    <a:pt x="1867" y="3"/>
                    <a:pt x="1963" y="4"/>
                    <a:pt x="2060" y="3"/>
                  </a:cubicBezTo>
                  <a:cubicBezTo>
                    <a:pt x="2042" y="20"/>
                    <a:pt x="2024" y="36"/>
                    <a:pt x="2006" y="53"/>
                  </a:cubicBezTo>
                  <a:cubicBezTo>
                    <a:pt x="1651" y="54"/>
                    <a:pt x="1296" y="52"/>
                    <a:pt x="941" y="58"/>
                  </a:cubicBezTo>
                  <a:cubicBezTo>
                    <a:pt x="628" y="51"/>
                    <a:pt x="314" y="68"/>
                    <a:pt x="0" y="51"/>
                  </a:cubicBezTo>
                  <a:cubicBezTo>
                    <a:pt x="104" y="16"/>
                    <a:pt x="216" y="35"/>
                    <a:pt x="324" y="37"/>
                  </a:cubicBezTo>
                  <a:cubicBezTo>
                    <a:pt x="290" y="32"/>
                    <a:pt x="258" y="22"/>
                    <a:pt x="228" y="6"/>
                  </a:cubicBezTo>
                  <a:close/>
                </a:path>
              </a:pathLst>
            </a:custGeom>
            <a:solidFill>
              <a:srgbClr val="4142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86">
              <a:extLst>
                <a:ext uri="{FF2B5EF4-FFF2-40B4-BE49-F238E27FC236}">
                  <a16:creationId xmlns:a16="http://schemas.microsoft.com/office/drawing/2014/main" id="{96A54067-462A-4645-AFDF-B1BBD5E52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" y="3043"/>
              <a:ext cx="83" cy="13"/>
            </a:xfrm>
            <a:custGeom>
              <a:avLst/>
              <a:gdLst/>
              <a:ahLst/>
              <a:cxnLst>
                <a:cxn ang="0">
                  <a:pos x="54" y="1"/>
                </a:cxn>
                <a:cxn ang="0">
                  <a:pos x="411" y="1"/>
                </a:cxn>
                <a:cxn ang="0">
                  <a:pos x="238" y="43"/>
                </a:cxn>
                <a:cxn ang="0">
                  <a:pos x="0" y="51"/>
                </a:cxn>
                <a:cxn ang="0">
                  <a:pos x="54" y="1"/>
                </a:cxn>
              </a:cxnLst>
              <a:rect l="0" t="0" r="r" b="b"/>
              <a:pathLst>
                <a:path w="411" h="62">
                  <a:moveTo>
                    <a:pt x="54" y="1"/>
                  </a:moveTo>
                  <a:cubicBezTo>
                    <a:pt x="173" y="0"/>
                    <a:pt x="292" y="1"/>
                    <a:pt x="411" y="1"/>
                  </a:cubicBezTo>
                  <a:cubicBezTo>
                    <a:pt x="367" y="54"/>
                    <a:pt x="296" y="27"/>
                    <a:pt x="238" y="43"/>
                  </a:cubicBezTo>
                  <a:cubicBezTo>
                    <a:pt x="160" y="62"/>
                    <a:pt x="79" y="51"/>
                    <a:pt x="0" y="51"/>
                  </a:cubicBezTo>
                  <a:cubicBezTo>
                    <a:pt x="18" y="34"/>
                    <a:pt x="36" y="18"/>
                    <a:pt x="54" y="1"/>
                  </a:cubicBezTo>
                </a:path>
              </a:pathLst>
            </a:custGeom>
            <a:solidFill>
              <a:srgbClr val="5D5E6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0" name="Date Placeholder 3">
            <a:extLst>
              <a:ext uri="{FF2B5EF4-FFF2-40B4-BE49-F238E27FC236}">
                <a16:creationId xmlns:a16="http://schemas.microsoft.com/office/drawing/2014/main" id="{1BFBA3B4-31B1-42FD-9D2E-67D8E5E611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41" name="Footer Placeholder 4">
            <a:extLst>
              <a:ext uri="{FF2B5EF4-FFF2-40B4-BE49-F238E27FC236}">
                <a16:creationId xmlns:a16="http://schemas.microsoft.com/office/drawing/2014/main" id="{EF60BA7F-D8DD-4895-918B-1F0E1C93D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2" name="Slide Number Placeholder 5">
            <a:extLst>
              <a:ext uri="{FF2B5EF4-FFF2-40B4-BE49-F238E27FC236}">
                <a16:creationId xmlns:a16="http://schemas.microsoft.com/office/drawing/2014/main" id="{EDDB9F20-6040-43D7-9C79-3E7BB6220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7" name="Content Placeholder 2">
            <a:extLst>
              <a:ext uri="{FF2B5EF4-FFF2-40B4-BE49-F238E27FC236}">
                <a16:creationId xmlns:a16="http://schemas.microsoft.com/office/drawing/2014/main" id="{6A91C538-EADD-4BA5-A6E9-080FEDFA04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86161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3" name="Title 1">
            <a:extLst>
              <a:ext uri="{FF2B5EF4-FFF2-40B4-BE49-F238E27FC236}">
                <a16:creationId xmlns:a16="http://schemas.microsoft.com/office/drawing/2014/main" id="{743F13CA-50B6-A248-BCB1-5F6ECC7BB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6194790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1C928446-EF30-5B8B-6587-4902B457257D}"/>
              </a:ext>
            </a:extLst>
          </p:cNvPr>
          <p:cNvCxnSpPr>
            <a:cxnSpLocks/>
          </p:cNvCxnSpPr>
          <p:nvPr userDrawn="1"/>
        </p:nvCxnSpPr>
        <p:spPr>
          <a:xfrm>
            <a:off x="414792" y="1092530"/>
            <a:ext cx="6215598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accent2"/>
                </a:gs>
                <a:gs pos="50000">
                  <a:srgbClr val="C2388B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9" name="Picture 8">
            <a:extLst>
              <a:ext uri="{FF2B5EF4-FFF2-40B4-BE49-F238E27FC236}">
                <a16:creationId xmlns:a16="http://schemas.microsoft.com/office/drawing/2014/main" id="{04313C58-6244-79C6-1197-4FE7A80D6F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3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nt friendly">
    <p:bg>
      <p:bgPr>
        <a:solidFill>
          <a:srgbClr val="FDFDFD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E5C6CA22-670C-AF50-DDC1-CCD1787AAB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681DB49-BE94-4B73-85A5-5FB46D362C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6700" y="1325245"/>
            <a:ext cx="5145114" cy="2204339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7AF7545-6082-4C5D-A076-37CF4023A0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6700" y="4779390"/>
            <a:ext cx="4123944" cy="152714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r>
              <a:rPr lang="en-US"/>
              <a:t>Date</a:t>
            </a:r>
            <a:endParaRPr lang="en-GB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6F853DA1-EDA3-4AD7-A495-A1EB109D7E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4BAD481-9382-4B44-8764-C03C1870B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D619232-4879-4EF7-A48A-DE96EB707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2679" y="6322455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BB074C7C-D557-A8D6-5EA0-E8C566C488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16700" y="393592"/>
            <a:ext cx="1903167" cy="41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92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Notebook (S)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raphic 9">
            <a:extLst>
              <a:ext uri="{FF2B5EF4-FFF2-40B4-BE49-F238E27FC236}">
                <a16:creationId xmlns:a16="http://schemas.microsoft.com/office/drawing/2014/main" id="{37BBAB6E-8E8C-CDDD-3536-2CEA8F586A62}"/>
              </a:ext>
            </a:extLst>
          </p:cNvPr>
          <p:cNvSpPr/>
          <p:nvPr userDrawn="1"/>
        </p:nvSpPr>
        <p:spPr>
          <a:xfrm flipH="1">
            <a:off x="7723696" y="0"/>
            <a:ext cx="4461593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gradFill>
            <a:gsLst>
              <a:gs pos="0">
                <a:srgbClr val="8F1FF7">
                  <a:alpha val="80000"/>
                </a:srgbClr>
              </a:gs>
              <a:gs pos="50000">
                <a:srgbClr val="C2388B">
                  <a:lumMod val="100000"/>
                  <a:alpha val="80000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7" name="Laptop" descr="laptop.png">
            <a:extLst>
              <a:ext uri="{FF2B5EF4-FFF2-40B4-BE49-F238E27FC236}">
                <a16:creationId xmlns:a16="http://schemas.microsoft.com/office/drawing/2014/main" id="{91E6A547-0933-46FE-B473-4582A8F78D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651638" y="1816417"/>
            <a:ext cx="6215598" cy="3645190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B1F87D76-4DE9-4216-B8B7-FDC0F318A8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D1C9EE8-3E21-4E88-81A5-0805D2A41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53F7295-D02B-4245-AF4E-A948C0F08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BEDA9EE-D747-4898-B265-D4A27F4AE0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86161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5AA086-293D-E24A-BAA5-5F4E8C577680}"/>
              </a:ext>
            </a:extLst>
          </p:cNvPr>
          <p:cNvSpPr/>
          <p:nvPr userDrawn="1"/>
        </p:nvSpPr>
        <p:spPr>
          <a:xfrm>
            <a:off x="6426672" y="2077895"/>
            <a:ext cx="4665529" cy="2915957"/>
          </a:xfrm>
          <a:prstGeom prst="rect">
            <a:avLst/>
          </a:prstGeom>
          <a:solidFill>
            <a:srgbClr val="EF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K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0E99889-111F-9549-933A-37C6FCF78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6194790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4844ED-2ADC-8AF1-B3F3-A8DD10AEC3F1}"/>
              </a:ext>
            </a:extLst>
          </p:cNvPr>
          <p:cNvCxnSpPr>
            <a:cxnSpLocks/>
          </p:cNvCxnSpPr>
          <p:nvPr userDrawn="1"/>
        </p:nvCxnSpPr>
        <p:spPr>
          <a:xfrm>
            <a:off x="414792" y="1092530"/>
            <a:ext cx="6215598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accent2"/>
                </a:gs>
                <a:gs pos="50000">
                  <a:srgbClr val="C2388B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8">
            <a:extLst>
              <a:ext uri="{FF2B5EF4-FFF2-40B4-BE49-F238E27FC236}">
                <a16:creationId xmlns:a16="http://schemas.microsoft.com/office/drawing/2014/main" id="{5764B9A6-EE97-BF0B-EB3A-FE7E84D895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1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C (S)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raphic 9">
            <a:extLst>
              <a:ext uri="{FF2B5EF4-FFF2-40B4-BE49-F238E27FC236}">
                <a16:creationId xmlns:a16="http://schemas.microsoft.com/office/drawing/2014/main" id="{7E0A5D22-85CF-C1D6-7592-6C8A2A8EE78C}"/>
              </a:ext>
            </a:extLst>
          </p:cNvPr>
          <p:cNvSpPr/>
          <p:nvPr userDrawn="1"/>
        </p:nvSpPr>
        <p:spPr>
          <a:xfrm flipH="1">
            <a:off x="7723696" y="0"/>
            <a:ext cx="4461593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gradFill>
            <a:gsLst>
              <a:gs pos="0">
                <a:srgbClr val="8F1FF7">
                  <a:alpha val="80000"/>
                </a:srgbClr>
              </a:gs>
              <a:gs pos="50000">
                <a:srgbClr val="C2388B">
                  <a:lumMod val="100000"/>
                  <a:alpha val="80000"/>
                </a:srgbClr>
              </a:gs>
              <a:gs pos="100000">
                <a:srgbClr val="F4511E">
                  <a:alpha val="80000"/>
                </a:srgbClr>
              </a:gs>
            </a:gsLst>
            <a:lin ang="2700000" scaled="1"/>
          </a:gra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2" name="Computer screeb" descr="imac-no-shadow-window-cut-out.png">
            <a:extLst>
              <a:ext uri="{FF2B5EF4-FFF2-40B4-BE49-F238E27FC236}">
                <a16:creationId xmlns:a16="http://schemas.microsoft.com/office/drawing/2014/main" id="{9AC150A2-0051-4E08-8B1F-FD4CCACE6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297210" y="1445550"/>
            <a:ext cx="5660400" cy="4516191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259AF5F6-24A6-490E-9982-81133D1CDB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B543BEF3-79F3-4BBA-B23E-CC4E12B2F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B2869B86-66E5-40D0-96A0-B790515C7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A9B2968-A223-4842-8192-D10C16C330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86161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6C1C685-AA51-4A4E-94A6-F30B92D94A08}"/>
              </a:ext>
            </a:extLst>
          </p:cNvPr>
          <p:cNvSpPr/>
          <p:nvPr userDrawn="1"/>
        </p:nvSpPr>
        <p:spPr>
          <a:xfrm>
            <a:off x="6574021" y="1666541"/>
            <a:ext cx="5185116" cy="2954492"/>
          </a:xfrm>
          <a:prstGeom prst="rect">
            <a:avLst/>
          </a:prstGeom>
          <a:solidFill>
            <a:srgbClr val="EF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K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94ABA19-FB99-5E40-A4C8-16E7554B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6194790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E478A44-4602-EFA3-EDB6-2531E8E2D308}"/>
              </a:ext>
            </a:extLst>
          </p:cNvPr>
          <p:cNvCxnSpPr>
            <a:cxnSpLocks/>
          </p:cNvCxnSpPr>
          <p:nvPr userDrawn="1"/>
        </p:nvCxnSpPr>
        <p:spPr>
          <a:xfrm>
            <a:off x="414792" y="1092530"/>
            <a:ext cx="6215598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accent2"/>
                </a:gs>
                <a:gs pos="50000">
                  <a:srgbClr val="C2388B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8">
            <a:extLst>
              <a:ext uri="{FF2B5EF4-FFF2-40B4-BE49-F238E27FC236}">
                <a16:creationId xmlns:a16="http://schemas.microsoft.com/office/drawing/2014/main" id="{0A21933B-72A3-A156-8349-C405D281F4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795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- Logo Only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8D7F928C-C47C-4B76-9A3B-9C7A8CDE6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0515600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49D806CB-173D-4FF1-BE4C-16D2B42B2C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EB2FE8D-A366-4334-82ED-6BE7D3EA7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3317EDF-9EC0-418B-BB42-3E96BC978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6C796374-D242-8BAB-1B3E-8196D2486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57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- logo only 1 column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8D7F928C-C47C-4B76-9A3B-9C7A8CDE6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0515600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F5AF810-0C51-47D5-A44E-2FF09B5098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600" y="1183072"/>
            <a:ext cx="10515600" cy="4806800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49D806CB-173D-4FF1-BE4C-16D2B42B2C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EB2FE8D-A366-4334-82ED-6BE7D3EA7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3317EDF-9EC0-418B-BB42-3E96BC978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C7FB5BEA-FC28-50BA-88F3-42975C3A3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834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- Logo only - 2 column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BD3EE37-D5C3-4071-8875-E11E2396C8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5600" y="1187003"/>
            <a:ext cx="518160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4C3FCD3-C26F-44C3-98F7-472850985E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69429" y="1187003"/>
            <a:ext cx="5181600" cy="476385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8BABE6-9BE6-4C0C-BF1D-F46A4D756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0515600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1104276-BF50-4F44-B94F-8501FA246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80D7A9E-AF9C-4DFD-9308-8965FA189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B596F83-EE31-4AF9-854F-6112561C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1C6A21BA-FF13-9BB2-BBAB-3153E4640D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8507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AC60FE2-2816-47F4-8ABD-D0F3E08EA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1033676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B8369830-AE31-4E91-8334-33078BE341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FC866D0-31DE-4655-A5AE-1E5A4B767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27E6BDA-32FD-4E54-8BBB-79EBB594D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B1479FE-D361-4A96-8572-7DCB40FFD64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8366087"/>
              </p:ext>
            </p:extLst>
          </p:nvPr>
        </p:nvGraphicFramePr>
        <p:xfrm>
          <a:off x="469821" y="3519060"/>
          <a:ext cx="10980000" cy="23400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96000">
                  <a:extLst>
                    <a:ext uri="{9D8B030D-6E8A-4147-A177-3AD203B41FA5}">
                      <a16:colId xmlns:a16="http://schemas.microsoft.com/office/drawing/2014/main" val="1671834593"/>
                    </a:ext>
                  </a:extLst>
                </a:gridCol>
                <a:gridCol w="2196000">
                  <a:extLst>
                    <a:ext uri="{9D8B030D-6E8A-4147-A177-3AD203B41FA5}">
                      <a16:colId xmlns:a16="http://schemas.microsoft.com/office/drawing/2014/main" val="2564989448"/>
                    </a:ext>
                  </a:extLst>
                </a:gridCol>
                <a:gridCol w="2196000">
                  <a:extLst>
                    <a:ext uri="{9D8B030D-6E8A-4147-A177-3AD203B41FA5}">
                      <a16:colId xmlns:a16="http://schemas.microsoft.com/office/drawing/2014/main" val="1161266431"/>
                    </a:ext>
                  </a:extLst>
                </a:gridCol>
                <a:gridCol w="2196000">
                  <a:extLst>
                    <a:ext uri="{9D8B030D-6E8A-4147-A177-3AD203B41FA5}">
                      <a16:colId xmlns:a16="http://schemas.microsoft.com/office/drawing/2014/main" val="1960355449"/>
                    </a:ext>
                  </a:extLst>
                </a:gridCol>
                <a:gridCol w="2196000">
                  <a:extLst>
                    <a:ext uri="{9D8B030D-6E8A-4147-A177-3AD203B41FA5}">
                      <a16:colId xmlns:a16="http://schemas.microsoft.com/office/drawing/2014/main" val="161396626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70571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62139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65266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3737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600">
                        <a:ln>
                          <a:solidFill>
                            <a:schemeClr val="accent4"/>
                          </a:solidFill>
                        </a:ln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DFDF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118487"/>
                  </a:ext>
                </a:extLst>
              </a:tr>
            </a:tbl>
          </a:graphicData>
        </a:graphic>
      </p:graphicFrame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0054823-8B46-4780-B1F5-18BAAF2925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600" y="1183072"/>
            <a:ext cx="11033676" cy="2003473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E7A9F8ED-B176-DB20-F7A5-592043F7A0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749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 with Logo_2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AC60FE2-2816-47F4-8ABD-D0F3E08EA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160167"/>
            <a:ext cx="10515600" cy="82359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B8369830-AE31-4E91-8334-33078BE341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FC866D0-31DE-4655-A5AE-1E5A4B767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27E6BDA-32FD-4E54-8BBB-79EBB594D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0054823-8B46-4780-B1F5-18BAAF2925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600" y="1183072"/>
            <a:ext cx="10515600" cy="2003473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BBE77FD3-3630-43A6-84E2-0FB09A92A99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812005567"/>
              </p:ext>
            </p:extLst>
          </p:nvPr>
        </p:nvGraphicFramePr>
        <p:xfrm>
          <a:off x="469825" y="3414416"/>
          <a:ext cx="10999454" cy="2752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8" name="Picture 8">
            <a:extLst>
              <a:ext uri="{FF2B5EF4-FFF2-40B4-BE49-F238E27FC236}">
                <a16:creationId xmlns:a16="http://schemas.microsoft.com/office/drawing/2014/main" id="{D6DD8104-9410-E688-9FF7-D0716DB0F1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271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herbet A">
    <p:bg>
      <p:bgPr>
        <a:gradFill>
          <a:gsLst>
            <a:gs pos="0">
              <a:schemeClr val="accent2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F4E438C3-37CA-6CA3-4D37-029D5854B7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858DECE-230A-4338-A280-82D80782FC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2ED75E0A-88D6-462F-9C12-EF7B67BFDF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A1EACB4-A597-4868-B249-8ED9C6395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1D2F968-7405-412F-AB36-292430099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2BF6FB18-3A2F-ADCF-34CB-10E1EE114D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886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herbet B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9">
            <a:extLst>
              <a:ext uri="{FF2B5EF4-FFF2-40B4-BE49-F238E27FC236}">
                <a16:creationId xmlns:a16="http://schemas.microsoft.com/office/drawing/2014/main" id="{B6EE06C7-ABEE-F0C1-BC29-15F63D64D98F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gradFill flip="none" rotWithShape="1">
            <a:gsLst>
              <a:gs pos="0">
                <a:srgbClr val="8F1FF7"/>
              </a:gs>
              <a:gs pos="100000">
                <a:schemeClr val="accent1"/>
              </a:gs>
            </a:gsLst>
            <a:lin ang="5400000" scaled="0"/>
            <a:tileRect/>
          </a:gra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78" name="Picture 377" descr="Shape&#10;&#10;Description automatically generated">
            <a:extLst>
              <a:ext uri="{FF2B5EF4-FFF2-40B4-BE49-F238E27FC236}">
                <a16:creationId xmlns:a16="http://schemas.microsoft.com/office/drawing/2014/main" id="{E9384CE4-086B-B3E2-48E5-DAE0269737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0C277D4-5B86-F449-B8EB-05637BA7599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4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72B0B7B-67B7-6C49-BE00-7189CD83386B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11A93E0A-B97D-A78D-F90B-C609EFE38D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9242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Icon&#10;&#10;Description automatically generated">
            <a:extLst>
              <a:ext uri="{FF2B5EF4-FFF2-40B4-BE49-F238E27FC236}">
                <a16:creationId xmlns:a16="http://schemas.microsoft.com/office/drawing/2014/main" id="{3F5F1D3D-5277-AB32-2481-26A6001CBE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681DB49-BE94-4B73-85A5-5FB46D362C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6700" y="1325245"/>
            <a:ext cx="5145114" cy="2204339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7AF7545-6082-4C5D-A076-37CF4023A0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6700" y="4779390"/>
            <a:ext cx="4123944" cy="152714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r>
              <a:rPr lang="en-US"/>
              <a:t>Date</a:t>
            </a:r>
            <a:endParaRPr lang="en-GB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6F853DA1-EDA3-4AD7-A495-A1EB109D7E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4BAD481-9382-4B44-8764-C03C1870B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D619232-4879-4EF7-A48A-DE96EB707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2519" y="6322455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B8D7EC-2D85-F340-83EC-75532B4E55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16700" y="393592"/>
            <a:ext cx="1903167" cy="41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62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point Sherbet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43E6FBA8-3C28-B0F8-8AF0-C1C44C3DC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" r="23133" b="1090"/>
          <a:stretch/>
        </p:blipFill>
        <p:spPr>
          <a:xfrm>
            <a:off x="6738255" y="1"/>
            <a:ext cx="5453745" cy="68580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5FD0AC0-0FF8-6C01-A85C-79468AD9B480}"/>
              </a:ext>
            </a:extLst>
          </p:cNvPr>
          <p:cNvSpPr/>
          <p:nvPr userDrawn="1"/>
        </p:nvSpPr>
        <p:spPr>
          <a:xfrm>
            <a:off x="-1" y="0"/>
            <a:ext cx="2573391" cy="6882972"/>
          </a:xfrm>
          <a:prstGeom prst="rect">
            <a:avLst/>
          </a:prstGeom>
          <a:gradFill>
            <a:gsLst>
              <a:gs pos="50000">
                <a:srgbClr val="C2388B">
                  <a:alpha val="60000"/>
                </a:srgbClr>
              </a:gs>
              <a:gs pos="0">
                <a:srgbClr val="8F1FF7">
                  <a:alpha val="59750"/>
                </a:srgbClr>
              </a:gs>
              <a:gs pos="100000">
                <a:srgbClr val="F4511E">
                  <a:alpha val="6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" name="Picture 40" descr="Shape&#10;&#10;Description automatically generated">
            <a:extLst>
              <a:ext uri="{FF2B5EF4-FFF2-40B4-BE49-F238E27FC236}">
                <a16:creationId xmlns:a16="http://schemas.microsoft.com/office/drawing/2014/main" id="{14718912-0781-4316-EB2D-25EFBA93B9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0320" y="1036827"/>
            <a:ext cx="3170283" cy="5233081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191023-4495-4A1A-99A7-CEE0C8B2BC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728F0BCA-3EF6-4433-AFDA-0C8E49A23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7970" y="6288892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1CF922F-E7BB-4209-A586-71088F2F7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D07ED2B0-4197-3C42-BE70-ACC9A1AE73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32" y="253389"/>
            <a:ext cx="2159258" cy="710319"/>
          </a:xfrm>
        </p:spPr>
        <p:txBody>
          <a:bodyPr anchor="ctr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9E78ED-1A5A-8B36-16D0-AF8229FFD3B8}"/>
              </a:ext>
            </a:extLst>
          </p:cNvPr>
          <p:cNvSpPr/>
          <p:nvPr userDrawn="1"/>
        </p:nvSpPr>
        <p:spPr>
          <a:xfrm>
            <a:off x="2112951" y="1323742"/>
            <a:ext cx="920873" cy="920873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B1C65E-029A-C11E-E5A6-1E5B4361F92E}"/>
              </a:ext>
            </a:extLst>
          </p:cNvPr>
          <p:cNvSpPr/>
          <p:nvPr userDrawn="1"/>
        </p:nvSpPr>
        <p:spPr>
          <a:xfrm>
            <a:off x="2112951" y="2978792"/>
            <a:ext cx="920873" cy="920873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EB468B3-BB61-6621-28B9-4EF15116DF02}"/>
              </a:ext>
            </a:extLst>
          </p:cNvPr>
          <p:cNvSpPr/>
          <p:nvPr userDrawn="1"/>
        </p:nvSpPr>
        <p:spPr>
          <a:xfrm>
            <a:off x="2112951" y="4633842"/>
            <a:ext cx="920873" cy="920873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42F8EF3E-CAFE-79A3-D88B-855DED6DB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27970" y="1601615"/>
            <a:ext cx="4123944" cy="365126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Heading</a:t>
            </a:r>
          </a:p>
        </p:txBody>
      </p:sp>
      <p:pic>
        <p:nvPicPr>
          <p:cNvPr id="38" name="Picture 9">
            <a:extLst>
              <a:ext uri="{FF2B5EF4-FFF2-40B4-BE49-F238E27FC236}">
                <a16:creationId xmlns:a16="http://schemas.microsoft.com/office/drawing/2014/main" id="{3F4A21C6-02C0-8E1A-B818-515A4FC9DA5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4132" y="6288892"/>
            <a:ext cx="1903164" cy="41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269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herbet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raphic 9">
            <a:extLst>
              <a:ext uri="{FF2B5EF4-FFF2-40B4-BE49-F238E27FC236}">
                <a16:creationId xmlns:a16="http://schemas.microsoft.com/office/drawing/2014/main" id="{6D23AD28-BD7B-E2D0-3B2D-E573D2C57219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0"/>
          </a:gra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6" name="Picture 15" descr="Shape&#10;&#10;Description automatically generated">
            <a:extLst>
              <a:ext uri="{FF2B5EF4-FFF2-40B4-BE49-F238E27FC236}">
                <a16:creationId xmlns:a16="http://schemas.microsoft.com/office/drawing/2014/main" id="{2AD3085E-65C4-A9CE-1856-5CAF33573A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B22220F-F0AF-9547-9714-90A7BCFE48E1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0CD5BDC-375C-2F4F-8BAB-94366051F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9" name="Picture 8">
            <a:extLst>
              <a:ext uri="{FF2B5EF4-FFF2-40B4-BE49-F238E27FC236}">
                <a16:creationId xmlns:a16="http://schemas.microsoft.com/office/drawing/2014/main" id="{B0E0C25C-0B50-F8DA-BE64-E994B6F8EB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263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rang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4AC25C94-193F-B2C2-510D-ED8DE2F204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858DECE-230A-4338-A280-82D80782FC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2ED75E0A-88D6-462F-9C12-EF7B67BFDF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A1EACB4-A597-4868-B249-8ED9C6395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1D2F968-7405-412F-AB36-292430099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2BF6FB18-3A2F-ADCF-34CB-10E1EE114D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983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range B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Graphic 9">
            <a:extLst>
              <a:ext uri="{FF2B5EF4-FFF2-40B4-BE49-F238E27FC236}">
                <a16:creationId xmlns:a16="http://schemas.microsoft.com/office/drawing/2014/main" id="{5D08D2C3-FC7A-4EF3-7D85-06E2FDB22BB7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1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78E9AB4D-757F-E44B-556D-B9C9000EFE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75D6741-8AC3-3CE7-55E5-D2A2540A5607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8">
            <a:extLst>
              <a:ext uri="{FF2B5EF4-FFF2-40B4-BE49-F238E27FC236}">
                <a16:creationId xmlns:a16="http://schemas.microsoft.com/office/drawing/2014/main" id="{C9113D3E-A0F0-C025-D629-A711EA205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C729BDA0-2A37-89C7-E0FF-DD79356503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5355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range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A0F9A8A7-F02F-DC39-D103-DC41B9A4855E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1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6FBBA23-1A75-5469-4300-9023B9AD0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8" name="Picture 17" descr="Shape&#10;&#10;Description automatically generated">
            <a:extLst>
              <a:ext uri="{FF2B5EF4-FFF2-40B4-BE49-F238E27FC236}">
                <a16:creationId xmlns:a16="http://schemas.microsoft.com/office/drawing/2014/main" id="{D2599E8A-E953-D708-FAC8-CDBC246631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0CAD259E-5EF9-0FF5-2373-6D8F78183D70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8">
            <a:extLst>
              <a:ext uri="{FF2B5EF4-FFF2-40B4-BE49-F238E27FC236}">
                <a16:creationId xmlns:a16="http://schemas.microsoft.com/office/drawing/2014/main" id="{0D36373E-309D-7970-5B6D-26CF2DEB8D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1290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urple Allocate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04EE0817-BDA8-9404-96B1-DD4196CC64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6F9D6CC-F802-43FD-BC0D-5F7F893123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FC5633E6-EC5F-4707-9C0C-B47F2F8DCA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F154156-A188-4ECD-8953-83D1B5B37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FA031D9-09A5-4C2C-83C3-763BACADE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39B07EC3-C180-5681-55CD-6BCA536AC0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8034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urple Allocate C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Graphic 9">
            <a:extLst>
              <a:ext uri="{FF2B5EF4-FFF2-40B4-BE49-F238E27FC236}">
                <a16:creationId xmlns:a16="http://schemas.microsoft.com/office/drawing/2014/main" id="{9C738D7D-C3C9-3FB5-3A03-4F86EE71A03D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2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EBC2057-C3A5-66E8-BAED-50E5ECAFA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416A1E8-B551-4BA9-F301-B6DEA6DAE954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8444060B-8D8F-2E51-4D11-D67B0F481C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286F759E-76AF-BBD2-5F2B-E0FDCCB425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9557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urple Allocate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Graphic 9">
            <a:extLst>
              <a:ext uri="{FF2B5EF4-FFF2-40B4-BE49-F238E27FC236}">
                <a16:creationId xmlns:a16="http://schemas.microsoft.com/office/drawing/2014/main" id="{F1D5DC97-CC40-ABCE-053A-474630B9982D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2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89B4795A-B9D9-A642-4219-DF6919737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8" name="Picture 27" descr="Shape&#10;&#10;Description automatically generated">
            <a:extLst>
              <a:ext uri="{FF2B5EF4-FFF2-40B4-BE49-F238E27FC236}">
                <a16:creationId xmlns:a16="http://schemas.microsoft.com/office/drawing/2014/main" id="{BA9DA942-5277-5B92-8565-26148FC245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92780BF2-E783-A884-8A5D-4E1866E1A6BB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8">
            <a:extLst>
              <a:ext uri="{FF2B5EF4-FFF2-40B4-BE49-F238E27FC236}">
                <a16:creationId xmlns:a16="http://schemas.microsoft.com/office/drawing/2014/main" id="{EC1991D5-F76E-423D-04C4-B3B95ADF6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8906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ky Blue 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BDA4165F-B77E-B8C8-5736-DBDF7FF7A1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D63B36-8724-482B-8191-5B89A7412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A39E6CB-81C2-42D5-87CD-BB78226B60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2655662-8E45-4515-B4B5-23DA1F1BE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45ED54A-FC46-4483-8E8B-22E9CBEB3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AFD0C064-E60D-679D-8391-FF5E3F5225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7242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ky Blue C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Graphic 9">
            <a:extLst>
              <a:ext uri="{FF2B5EF4-FFF2-40B4-BE49-F238E27FC236}">
                <a16:creationId xmlns:a16="http://schemas.microsoft.com/office/drawing/2014/main" id="{DC8D0B3C-E488-D0BB-6F35-D729D2060A64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6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BE651C0-2860-78FC-BCD6-7575CDB100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6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7398A75-5933-FE7D-6B57-C2B00C3AD36C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B6E28194-2CC0-6565-F890-D768B6185B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0F06A4E5-72FB-E6F6-9D0F-3DD17910F9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2691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ky Blue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BB7C14C6-5614-4761-D426-53C13CCF47DA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6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67BADB-EAB6-ECDA-625B-5F91EAAF8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4" name="Picture 23" descr="Shape&#10;&#10;Description automatically generated">
            <a:extLst>
              <a:ext uri="{FF2B5EF4-FFF2-40B4-BE49-F238E27FC236}">
                <a16:creationId xmlns:a16="http://schemas.microsoft.com/office/drawing/2014/main" id="{205051F0-D9DE-A28D-98A4-3335A4E2BC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5BE023AD-92D5-B40E-5C3D-781611EA21C0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8">
            <a:extLst>
              <a:ext uri="{FF2B5EF4-FFF2-40B4-BE49-F238E27FC236}">
                <a16:creationId xmlns:a16="http://schemas.microsoft.com/office/drawing/2014/main" id="{F8D9E3DF-3D51-7955-E739-EA59C91121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11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 point Sherbet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3C9218DD-AD1D-AF14-C7B1-51E45B3F23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" r="23133" b="1090"/>
          <a:stretch/>
        </p:blipFill>
        <p:spPr>
          <a:xfrm>
            <a:off x="6738255" y="1"/>
            <a:ext cx="5453745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AE7A0A7-7778-C575-374E-4773E39CE255}"/>
              </a:ext>
            </a:extLst>
          </p:cNvPr>
          <p:cNvSpPr/>
          <p:nvPr userDrawn="1"/>
        </p:nvSpPr>
        <p:spPr>
          <a:xfrm>
            <a:off x="-1" y="0"/>
            <a:ext cx="2573391" cy="6882972"/>
          </a:xfrm>
          <a:prstGeom prst="rect">
            <a:avLst/>
          </a:prstGeom>
          <a:gradFill>
            <a:gsLst>
              <a:gs pos="0">
                <a:srgbClr val="8F1FF7">
                  <a:alpha val="59750"/>
                </a:srgbClr>
              </a:gs>
              <a:gs pos="50000">
                <a:srgbClr val="C2388B">
                  <a:lumMod val="100000"/>
                  <a:alpha val="59570"/>
                </a:srgbClr>
              </a:gs>
              <a:gs pos="100000">
                <a:srgbClr val="F4511E">
                  <a:alpha val="6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 descr="Shape&#10;&#10;Description automatically generated">
            <a:extLst>
              <a:ext uri="{FF2B5EF4-FFF2-40B4-BE49-F238E27FC236}">
                <a16:creationId xmlns:a16="http://schemas.microsoft.com/office/drawing/2014/main" id="{8942F3F5-8639-093F-8E6F-DC0F767589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0320" y="1036827"/>
            <a:ext cx="3170283" cy="5233081"/>
          </a:xfrm>
          <a:prstGeom prst="rect">
            <a:avLst/>
          </a:prstGeom>
        </p:spPr>
      </p:pic>
      <p:pic>
        <p:nvPicPr>
          <p:cNvPr id="23" name="Picture 9">
            <a:extLst>
              <a:ext uri="{FF2B5EF4-FFF2-40B4-BE49-F238E27FC236}">
                <a16:creationId xmlns:a16="http://schemas.microsoft.com/office/drawing/2014/main" id="{C89808EE-D1FB-CE53-44E2-1AF5B699DF4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4132" y="6288892"/>
            <a:ext cx="1903164" cy="419208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191023-4495-4A1A-99A7-CEE0C8B2BC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1CF922F-E7BB-4209-A586-71088F2F7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9E78ED-1A5A-8B36-16D0-AF8229FFD3B8}"/>
              </a:ext>
            </a:extLst>
          </p:cNvPr>
          <p:cNvSpPr/>
          <p:nvPr userDrawn="1"/>
        </p:nvSpPr>
        <p:spPr>
          <a:xfrm>
            <a:off x="2192326" y="1216335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B1C65E-029A-C11E-E5A6-1E5B4361F92E}"/>
              </a:ext>
            </a:extLst>
          </p:cNvPr>
          <p:cNvSpPr/>
          <p:nvPr userDrawn="1"/>
        </p:nvSpPr>
        <p:spPr>
          <a:xfrm>
            <a:off x="2192326" y="2201695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EB468B3-BB61-6621-28B9-4EF15116DF02}"/>
              </a:ext>
            </a:extLst>
          </p:cNvPr>
          <p:cNvSpPr/>
          <p:nvPr userDrawn="1"/>
        </p:nvSpPr>
        <p:spPr>
          <a:xfrm>
            <a:off x="2203272" y="3192068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42F8EF3E-CAFE-79A3-D88B-855DED6DB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4541" y="1408975"/>
            <a:ext cx="4123944" cy="36512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Heading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9464301-D7AE-AF98-D620-450BD35ACFB6}"/>
              </a:ext>
            </a:extLst>
          </p:cNvPr>
          <p:cNvSpPr/>
          <p:nvPr userDrawn="1"/>
        </p:nvSpPr>
        <p:spPr>
          <a:xfrm>
            <a:off x="2203272" y="4177428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B4C3C64-F7D1-1803-0ACC-559F4467258E}"/>
              </a:ext>
            </a:extLst>
          </p:cNvPr>
          <p:cNvSpPr/>
          <p:nvPr userDrawn="1"/>
        </p:nvSpPr>
        <p:spPr>
          <a:xfrm>
            <a:off x="2202138" y="5162788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5C3421C-6A0F-63D1-2396-7DD9E3C130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32" y="253389"/>
            <a:ext cx="2159258" cy="710319"/>
          </a:xfrm>
        </p:spPr>
        <p:txBody>
          <a:bodyPr anchor="ctr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6683208E-E335-F458-00C0-E6ABBFAD4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7970" y="6288892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367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Jade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70330C61-B4B4-DBE3-B3E3-1639366F5C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D63B36-8724-482B-8191-5B89A7412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8497936F-E04B-4B65-ACC6-AFF728C074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44D0199-75BA-4ED9-9E52-0574082A2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905BCE-B187-4C71-A447-9A3FE1C37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D3801964-1605-CA82-886A-EE1F8BA395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2361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Jade C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Graphic 9">
            <a:extLst>
              <a:ext uri="{FF2B5EF4-FFF2-40B4-BE49-F238E27FC236}">
                <a16:creationId xmlns:a16="http://schemas.microsoft.com/office/drawing/2014/main" id="{95EC5ACD-E244-624E-4455-4A5BC0C66537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3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0FB1AD1-3B35-CDF1-C955-10FC4C18F7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69F8EA9-CDCA-71D3-DF7A-CA2BCCE5BFA4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84C168D0-4399-F021-BC68-81FD8D7CD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D23FE2EE-A2E0-7304-AF79-9CC519DA5E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1807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Jade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A152040C-DDA1-C6F4-364F-F86276A106BF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3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4DF9C20-4534-224E-E7D7-C9D3671445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4" name="Picture 23" descr="Shape&#10;&#10;Description automatically generated">
            <a:extLst>
              <a:ext uri="{FF2B5EF4-FFF2-40B4-BE49-F238E27FC236}">
                <a16:creationId xmlns:a16="http://schemas.microsoft.com/office/drawing/2014/main" id="{A22A38F1-F66F-F5F8-3CC7-F36ADE884E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886D1A02-9859-CDA0-4265-DAE5F7516110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8">
            <a:extLst>
              <a:ext uri="{FF2B5EF4-FFF2-40B4-BE49-F238E27FC236}">
                <a16:creationId xmlns:a16="http://schemas.microsoft.com/office/drawing/2014/main" id="{26305DD9-A48A-65E4-8CF7-08E088F920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574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Navy 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5AD1165C-94B0-BB28-0D53-EC5BE9BB4B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D63B36-8724-482B-8191-5B89A7412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D9015AF-0A45-45D5-AD4B-9AAF5A6433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2B85284-95E1-47B8-9107-5CF9C082D6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778433C-2ACE-45EF-BB6D-B7FAB2F00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07AC6DBF-AEA9-35C8-3312-B034A6C829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4305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Navy C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Graphic 9">
            <a:extLst>
              <a:ext uri="{FF2B5EF4-FFF2-40B4-BE49-F238E27FC236}">
                <a16:creationId xmlns:a16="http://schemas.microsoft.com/office/drawing/2014/main" id="{BF657CBA-D4C9-6CCC-745D-233471B68775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5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143F7F9-9839-130C-F23B-224EE9B84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F649952-232F-9200-9363-9ED179BCB948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E3A42AC8-403F-10B2-76E5-6CADCE514A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AB693D2A-97A7-98DF-CC7A-F7879E6AAC9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356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Navy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F7ACDCF9-5347-4191-81B6-8F74A1086ABA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5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150E90A-7329-9326-ADD4-7037C029D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4" name="Picture 23" descr="Shape&#10;&#10;Description automatically generated">
            <a:extLst>
              <a:ext uri="{FF2B5EF4-FFF2-40B4-BE49-F238E27FC236}">
                <a16:creationId xmlns:a16="http://schemas.microsoft.com/office/drawing/2014/main" id="{7C46EA5B-458F-F656-83E5-B6429A84F2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51A60573-528F-DC87-6DD4-15D2A31F3D1F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8">
            <a:extLst>
              <a:ext uri="{FF2B5EF4-FFF2-40B4-BE49-F238E27FC236}">
                <a16:creationId xmlns:a16="http://schemas.microsoft.com/office/drawing/2014/main" id="{499C87EF-E21A-8916-C90F-E5AACC42EF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565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lara 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45FB385D-3A0A-845A-04C9-7A6027B68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D63B36-8724-482B-8191-5B89A7412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25F74055-9A5A-4799-BE6B-1896D34EC4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B8FC139-7280-4006-B907-282FFBE4F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8EDE093-C370-4D57-AE9D-6134159979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14CD5C40-932A-CB3C-8460-D53CDB6E6A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4680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lara C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Graphic 9">
            <a:extLst>
              <a:ext uri="{FF2B5EF4-FFF2-40B4-BE49-F238E27FC236}">
                <a16:creationId xmlns:a16="http://schemas.microsoft.com/office/drawing/2014/main" id="{DDDF8010-17B3-016F-8028-9263D47E716A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4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DA0057E-2235-8AB9-446A-3CF7F829B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4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C5F3811-17B2-B639-E798-A1E950A752A4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3C1D080B-9704-766C-9CB0-9ED3A680AD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C5B95CC0-5362-6B45-DB58-F0F188A250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3531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lara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BE53BF8B-88C7-9FA9-0CAE-BC44D04DFB10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accent4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B952FC-7E8A-45EB-62D1-602584FEA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4" name="Picture 23" descr="Shape&#10;&#10;Description automatically generated">
            <a:extLst>
              <a:ext uri="{FF2B5EF4-FFF2-40B4-BE49-F238E27FC236}">
                <a16:creationId xmlns:a16="http://schemas.microsoft.com/office/drawing/2014/main" id="{B9098C6D-4AB5-EAAD-379F-F9634B36A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F7A3CC00-1DDA-9E8B-C031-8E973369FD92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8">
            <a:extLst>
              <a:ext uri="{FF2B5EF4-FFF2-40B4-BE49-F238E27FC236}">
                <a16:creationId xmlns:a16="http://schemas.microsoft.com/office/drawing/2014/main" id="{597957B3-FCC4-484C-9A68-5377241E68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64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ILVIA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2701CF52-9DA2-51DC-963E-690F5A0275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D63B36-8724-482B-8191-5B89A7412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600" y="1404757"/>
            <a:ext cx="4123944" cy="2204339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rgbClr val="706F6F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5A67E39-F5CB-46AD-B3F1-27E29249F8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E73DD9F-CAB8-4EC0-AE75-6D005DB78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3F2EF21-947D-427B-ADC1-095E9B566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E3C3307A-B26C-5ABE-8E86-9F0CA6F925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414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0 point Sherbet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C6C5BF8D-A7EF-14DD-41CC-F175BD91A9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" r="23133" b="1090"/>
          <a:stretch/>
        </p:blipFill>
        <p:spPr>
          <a:xfrm>
            <a:off x="6738255" y="1"/>
            <a:ext cx="5453745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FF2003B6-CD0F-680A-B754-94C0C2AE9348}"/>
              </a:ext>
            </a:extLst>
          </p:cNvPr>
          <p:cNvSpPr/>
          <p:nvPr userDrawn="1"/>
        </p:nvSpPr>
        <p:spPr>
          <a:xfrm>
            <a:off x="-1" y="0"/>
            <a:ext cx="2573391" cy="6882972"/>
          </a:xfrm>
          <a:prstGeom prst="rect">
            <a:avLst/>
          </a:prstGeom>
          <a:gradFill>
            <a:gsLst>
              <a:gs pos="0">
                <a:srgbClr val="8F1FF7">
                  <a:alpha val="59750"/>
                </a:srgbClr>
              </a:gs>
              <a:gs pos="49000">
                <a:srgbClr val="C2388B">
                  <a:lumMod val="100000"/>
                  <a:alpha val="59570"/>
                </a:srgbClr>
              </a:gs>
              <a:gs pos="100000">
                <a:srgbClr val="F4511E">
                  <a:alpha val="60000"/>
                </a:srgb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191023-4495-4A1A-99A7-CEE0C8B2BC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1CF922F-E7BB-4209-A586-71088F2F7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9E78ED-1A5A-8B36-16D0-AF8229FFD3B8}"/>
              </a:ext>
            </a:extLst>
          </p:cNvPr>
          <p:cNvSpPr/>
          <p:nvPr userDrawn="1"/>
        </p:nvSpPr>
        <p:spPr>
          <a:xfrm>
            <a:off x="2336741" y="802466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8FAF26E-F896-FED0-5CCA-D0EB31A7004C}"/>
              </a:ext>
            </a:extLst>
          </p:cNvPr>
          <p:cNvSpPr/>
          <p:nvPr userDrawn="1"/>
        </p:nvSpPr>
        <p:spPr>
          <a:xfrm>
            <a:off x="2335994" y="1356334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64D2E5F-5645-0411-78A1-31AECF2C6F1D}"/>
              </a:ext>
            </a:extLst>
          </p:cNvPr>
          <p:cNvSpPr/>
          <p:nvPr userDrawn="1"/>
        </p:nvSpPr>
        <p:spPr>
          <a:xfrm>
            <a:off x="2335994" y="1905690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6352C91-E29B-1641-C5E0-8E85F8E0D583}"/>
              </a:ext>
            </a:extLst>
          </p:cNvPr>
          <p:cNvSpPr/>
          <p:nvPr userDrawn="1"/>
        </p:nvSpPr>
        <p:spPr>
          <a:xfrm>
            <a:off x="2337885" y="2458309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0A30174-B4F1-EB8E-BE67-84CA74832237}"/>
              </a:ext>
            </a:extLst>
          </p:cNvPr>
          <p:cNvSpPr/>
          <p:nvPr userDrawn="1"/>
        </p:nvSpPr>
        <p:spPr>
          <a:xfrm>
            <a:off x="2335993" y="3010072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9B28F27-EE31-4A76-8275-A17BB3DE7739}"/>
              </a:ext>
            </a:extLst>
          </p:cNvPr>
          <p:cNvSpPr/>
          <p:nvPr userDrawn="1"/>
        </p:nvSpPr>
        <p:spPr>
          <a:xfrm>
            <a:off x="2335993" y="3557558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A10B647-E04C-6865-0E83-11B65EF8E58E}"/>
              </a:ext>
            </a:extLst>
          </p:cNvPr>
          <p:cNvSpPr/>
          <p:nvPr userDrawn="1"/>
        </p:nvSpPr>
        <p:spPr>
          <a:xfrm>
            <a:off x="2335993" y="4113041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776E7EA-3F10-654C-3B9E-49829994183F}"/>
              </a:ext>
            </a:extLst>
          </p:cNvPr>
          <p:cNvSpPr/>
          <p:nvPr userDrawn="1"/>
        </p:nvSpPr>
        <p:spPr>
          <a:xfrm>
            <a:off x="2339173" y="4667701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B1C65E-029A-C11E-E5A6-1E5B4361F92E}"/>
              </a:ext>
            </a:extLst>
          </p:cNvPr>
          <p:cNvSpPr/>
          <p:nvPr userDrawn="1"/>
        </p:nvSpPr>
        <p:spPr>
          <a:xfrm>
            <a:off x="2335993" y="5221569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EB468B3-BB61-6621-28B9-4EF15116DF02}"/>
              </a:ext>
            </a:extLst>
          </p:cNvPr>
          <p:cNvSpPr/>
          <p:nvPr userDrawn="1"/>
        </p:nvSpPr>
        <p:spPr>
          <a:xfrm>
            <a:off x="2330881" y="5775437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42F8EF3E-CAFE-79A3-D88B-855DED6DB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32078" y="873992"/>
            <a:ext cx="4123944" cy="365126"/>
          </a:xfrm>
        </p:spPr>
        <p:txBody>
          <a:bodyPr>
            <a:normAutofit/>
          </a:bodyPr>
          <a:lstStyle>
            <a:lvl1pPr marL="0" indent="0" algn="l"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Heading</a:t>
            </a:r>
          </a:p>
        </p:txBody>
      </p:sp>
      <p:pic>
        <p:nvPicPr>
          <p:cNvPr id="43" name="Picture 42" descr="Shape&#10;&#10;Description automatically generated">
            <a:extLst>
              <a:ext uri="{FF2B5EF4-FFF2-40B4-BE49-F238E27FC236}">
                <a16:creationId xmlns:a16="http://schemas.microsoft.com/office/drawing/2014/main" id="{3BA94716-6320-44D9-28C3-4336164517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0320" y="1036827"/>
            <a:ext cx="3170283" cy="5233081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CDD2B2FA-1ED7-1722-7535-E84FD185F1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32" y="253389"/>
            <a:ext cx="2159258" cy="710319"/>
          </a:xfrm>
        </p:spPr>
        <p:txBody>
          <a:bodyPr anchor="ctr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pic>
        <p:nvPicPr>
          <p:cNvPr id="45" name="Picture 9">
            <a:extLst>
              <a:ext uri="{FF2B5EF4-FFF2-40B4-BE49-F238E27FC236}">
                <a16:creationId xmlns:a16="http://schemas.microsoft.com/office/drawing/2014/main" id="{5B065C10-20FB-F97C-A3F9-244CB60851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4132" y="6288892"/>
            <a:ext cx="1903164" cy="419208"/>
          </a:xfrm>
          <a:prstGeom prst="rect">
            <a:avLst/>
          </a:prstGeom>
        </p:spPr>
      </p:pic>
      <p:sp>
        <p:nvSpPr>
          <p:cNvPr id="46" name="Footer Placeholder 4">
            <a:extLst>
              <a:ext uri="{FF2B5EF4-FFF2-40B4-BE49-F238E27FC236}">
                <a16:creationId xmlns:a16="http://schemas.microsoft.com/office/drawing/2014/main" id="{E29D665C-930C-4CDA-91C4-55BC37D2E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7970" y="6288892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617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ilvia C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Graphic 9">
            <a:extLst>
              <a:ext uri="{FF2B5EF4-FFF2-40B4-BE49-F238E27FC236}">
                <a16:creationId xmlns:a16="http://schemas.microsoft.com/office/drawing/2014/main" id="{872690D7-69C3-F043-2831-A386CC097592}"/>
              </a:ext>
            </a:extLst>
          </p:cNvPr>
          <p:cNvSpPr/>
          <p:nvPr userDrawn="1"/>
        </p:nvSpPr>
        <p:spPr>
          <a:xfrm>
            <a:off x="0" y="-24972"/>
            <a:ext cx="5361709" cy="6882972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bg2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B30E1CF-BD04-FAF7-2D85-3E0B8F71E7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1906" y="2232130"/>
            <a:ext cx="4154685" cy="2393740"/>
          </a:xfrm>
        </p:spPr>
        <p:txBody>
          <a:bodyPr anchor="ctr">
            <a:noAutofit/>
          </a:bodyPr>
          <a:lstStyle>
            <a:lvl1pPr algn="l">
              <a:defRPr sz="3600" b="1">
                <a:solidFill>
                  <a:schemeClr val="accent4"/>
                </a:solidFill>
              </a:defRPr>
            </a:lvl1pPr>
          </a:lstStyle>
          <a:p>
            <a:r>
              <a:rPr lang="en-US"/>
              <a:t>Chapter title</a:t>
            </a:r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EBE5B8C-9B5D-6EC1-5DC9-C791DB55305E}"/>
              </a:ext>
            </a:extLst>
          </p:cNvPr>
          <p:cNvSpPr/>
          <p:nvPr userDrawn="1"/>
        </p:nvSpPr>
        <p:spPr>
          <a:xfrm>
            <a:off x="3988440" y="2972135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D0489ECF-C1D5-071E-488E-1B14B801D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165" y="-24972"/>
            <a:ext cx="3774507" cy="6230452"/>
          </a:xfrm>
          <a:prstGeom prst="rect">
            <a:avLst/>
          </a:prstGeom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0F5764C1-4A96-DAB9-A087-41EDA7BD39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8847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ilvia D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E6D3CC2-E2B6-407A-B81B-BAAF83E081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8221681-1313-4EAA-B456-EE5C69EB5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CEE516-1AAA-4D6B-A4BC-6001B1CA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C25D80F-9DC1-6241-892B-08205EDA7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7940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EFF2B8-E06E-2640-A8C1-302ED8F3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0883" y="1829169"/>
            <a:ext cx="5181600" cy="4122057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CA4512FC-4C5D-D626-281E-4171F00BDD7A}"/>
              </a:ext>
            </a:extLst>
          </p:cNvPr>
          <p:cNvSpPr/>
          <p:nvPr userDrawn="1"/>
        </p:nvSpPr>
        <p:spPr>
          <a:xfrm rot="16200000" flipH="1">
            <a:off x="5265822" y="-5265818"/>
            <a:ext cx="1660359" cy="12192000"/>
          </a:xfrm>
          <a:custGeom>
            <a:avLst/>
            <a:gdLst>
              <a:gd name="connsiteX0" fmla="*/ 3194378 w 3998725"/>
              <a:gd name="connsiteY0" fmla="*/ 1235819 h 5217387"/>
              <a:gd name="connsiteX1" fmla="*/ 3249548 w 3998725"/>
              <a:gd name="connsiteY1" fmla="*/ 3688326 h 5217387"/>
              <a:gd name="connsiteX2" fmla="*/ 2590781 w 3998725"/>
              <a:gd name="connsiteY2" fmla="*/ 4994775 h 5217387"/>
              <a:gd name="connsiteX3" fmla="*/ 2387142 w 3998725"/>
              <a:gd name="connsiteY3" fmla="*/ 5217387 h 5217387"/>
              <a:gd name="connsiteX4" fmla="*/ 0 w 3998725"/>
              <a:gd name="connsiteY4" fmla="*/ 5217387 h 5217387"/>
              <a:gd name="connsiteX5" fmla="*/ 0 w 3998725"/>
              <a:gd name="connsiteY5" fmla="*/ 0 h 5217387"/>
              <a:gd name="connsiteX6" fmla="*/ 3998726 w 3998725"/>
              <a:gd name="connsiteY6" fmla="*/ 0 h 5217387"/>
              <a:gd name="connsiteX7" fmla="*/ 3194378 w 3998725"/>
              <a:gd name="connsiteY7" fmla="*/ 1235819 h 521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8725" h="5217387">
                <a:moveTo>
                  <a:pt x="3194378" y="1235819"/>
                </a:moveTo>
                <a:cubicBezTo>
                  <a:pt x="3036185" y="2041486"/>
                  <a:pt x="3386415" y="2878795"/>
                  <a:pt x="3249548" y="3688326"/>
                </a:cubicBezTo>
                <a:cubicBezTo>
                  <a:pt x="3166986" y="4175437"/>
                  <a:pt x="2911018" y="4619551"/>
                  <a:pt x="2590781" y="4994775"/>
                </a:cubicBezTo>
                <a:cubicBezTo>
                  <a:pt x="2525405" y="5071346"/>
                  <a:pt x="2457525" y="5145550"/>
                  <a:pt x="2387142" y="5217387"/>
                </a:cubicBezTo>
                <a:lnTo>
                  <a:pt x="0" y="5217387"/>
                </a:lnTo>
                <a:lnTo>
                  <a:pt x="0" y="0"/>
                </a:lnTo>
                <a:lnTo>
                  <a:pt x="3998726" y="0"/>
                </a:lnTo>
                <a:cubicBezTo>
                  <a:pt x="3588223" y="289860"/>
                  <a:pt x="3291576" y="740979"/>
                  <a:pt x="3194378" y="1235819"/>
                </a:cubicBezTo>
                <a:close/>
              </a:path>
            </a:pathLst>
          </a:custGeom>
          <a:solidFill>
            <a:schemeClr val="bg1"/>
          </a:solidFill>
          <a:ln w="48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E765C01-D67A-861D-984D-6CE7981E5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20" y="377973"/>
            <a:ext cx="9746991" cy="823595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4" name="Picture 23" descr="Shape&#10;&#10;Description automatically generated">
            <a:extLst>
              <a:ext uri="{FF2B5EF4-FFF2-40B4-BE49-F238E27FC236}">
                <a16:creationId xmlns:a16="http://schemas.microsoft.com/office/drawing/2014/main" id="{C8D4F01A-7C79-4D64-76C7-550BF79DA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b="64927"/>
          <a:stretch/>
        </p:blipFill>
        <p:spPr>
          <a:xfrm>
            <a:off x="10234170" y="0"/>
            <a:ext cx="2470218" cy="1660360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C970972B-1945-6BFE-E299-A404FBF4736C}"/>
              </a:ext>
            </a:extLst>
          </p:cNvPr>
          <p:cNvSpPr/>
          <p:nvPr userDrawn="1"/>
        </p:nvSpPr>
        <p:spPr>
          <a:xfrm>
            <a:off x="11014212" y="601401"/>
            <a:ext cx="913730" cy="913730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8">
            <a:extLst>
              <a:ext uri="{FF2B5EF4-FFF2-40B4-BE49-F238E27FC236}">
                <a16:creationId xmlns:a16="http://schemas.microsoft.com/office/drawing/2014/main" id="{82057327-21D0-3864-6DE2-6BA3C3DBE5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12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46AAD2E-4906-814D-BEB8-99A1A11C503F}"/>
              </a:ext>
            </a:extLst>
          </p:cNvPr>
          <p:cNvSpPr/>
          <p:nvPr userDrawn="1"/>
        </p:nvSpPr>
        <p:spPr>
          <a:xfrm>
            <a:off x="-5" y="0"/>
            <a:ext cx="12192005" cy="6857999"/>
          </a:xfrm>
          <a:prstGeom prst="rect">
            <a:avLst/>
          </a:prstGeom>
          <a:gradFill flip="none" rotWithShape="1">
            <a:gsLst>
              <a:gs pos="0">
                <a:srgbClr val="8F1FF7">
                  <a:alpha val="69686"/>
                  <a:lumMod val="60188"/>
                </a:srgbClr>
              </a:gs>
              <a:gs pos="50000">
                <a:srgbClr val="C2388B">
                  <a:alpha val="70000"/>
                  <a:lumMod val="60236"/>
                </a:srgbClr>
              </a:gs>
              <a:gs pos="100000">
                <a:srgbClr val="F4511E">
                  <a:alpha val="70000"/>
                  <a:lumMod val="100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K"/>
          </a:p>
        </p:txBody>
      </p:sp>
      <p:pic>
        <p:nvPicPr>
          <p:cNvPr id="13" name="Picture 12" descr="A person in a blue shirt&#10;&#10;Description automatically generated with medium confidence">
            <a:extLst>
              <a:ext uri="{FF2B5EF4-FFF2-40B4-BE49-F238E27FC236}">
                <a16:creationId xmlns:a16="http://schemas.microsoft.com/office/drawing/2014/main" id="{6C13461C-B331-7445-9E87-A1C154A4AE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057" y="258639"/>
            <a:ext cx="13012616" cy="6641856"/>
          </a:xfrm>
          <a:prstGeom prst="rect">
            <a:avLst/>
          </a:prstGeom>
        </p:spPr>
      </p:pic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E6EB1CB-F0A8-4A34-A5FF-E2C05B4F64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5F24E054-6196-4344-BF3E-C1E9E92FD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35C110F-4C10-4034-9734-F75D9E64A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82A62FC-AE47-524A-99F5-912AAA172C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6408" y="170420"/>
            <a:ext cx="6204216" cy="6196693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03A1E02-BBC2-E448-90C2-F653F3E9A5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7119" y="1057276"/>
            <a:ext cx="4662793" cy="3228976"/>
          </a:xfrm>
        </p:spPr>
        <p:txBody>
          <a:bodyPr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/>
              <a:t>Bold statement goes here and should ideally be no longer than this.</a:t>
            </a:r>
          </a:p>
        </p:txBody>
      </p:sp>
      <p:pic>
        <p:nvPicPr>
          <p:cNvPr id="16" name="Picture 8">
            <a:extLst>
              <a:ext uri="{FF2B5EF4-FFF2-40B4-BE49-F238E27FC236}">
                <a16:creationId xmlns:a16="http://schemas.microsoft.com/office/drawing/2014/main" id="{6621ADC6-3B57-63D1-5F42-BE1E4D1481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29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7.40741E-7 L -0.07513 0.0023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6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 Sherbet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1746BF19-F90E-7DF5-32DF-E4C6987230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27" y="424356"/>
            <a:ext cx="6273800" cy="62103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D09A841-4DB3-EEC4-6477-3286EBDD2B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623" y="1530956"/>
            <a:ext cx="4123944" cy="2640463"/>
          </a:xfr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/>
              <a:t>Bold statement goes here and should ideally be no longer than this.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8DD0633-CB6D-41B7-8E28-AD58531729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BC66C2C-C93C-4910-922F-3D8D2A1F7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8455EEB-4147-4132-9919-4110634AA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7D9B381D-D41A-562F-FDE4-9847158952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6581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28F06B3-9D33-CC47-B109-77204C4780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43307" y="321032"/>
            <a:ext cx="6406253" cy="6398485"/>
          </a:xfrm>
          <a:prstGeom prst="rect">
            <a:avLst/>
          </a:prstGeom>
          <a:noFill/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75DB2A8-D2A0-4CA9-9139-95BC54924C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91A6615-5937-4DAB-88D1-AEE9A5AEA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498E451-2EC9-4EF7-BE5E-55708E6DD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1FAAB9-14C6-05E6-75A6-11E9ECB673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0EC6913-4322-C191-64C8-4C0D8B27B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623" y="1530956"/>
            <a:ext cx="4123944" cy="2640463"/>
          </a:xfrm>
        </p:spPr>
        <p:txBody>
          <a:bodyPr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/>
              <a:t>Bold statement goes here and should ideally be no longer than this.</a:t>
            </a:r>
          </a:p>
        </p:txBody>
      </p:sp>
    </p:spTree>
    <p:extLst>
      <p:ext uri="{BB962C8B-B14F-4D97-AF65-F5344CB8AC3E}">
        <p14:creationId xmlns:p14="http://schemas.microsoft.com/office/powerpoint/2010/main" val="3261318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BOLD STATEMENT ORAN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14979E-26BD-4D5A-A15E-7627AE749E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451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F06B3-9D33-CC47-B109-77204C4780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65063" y="494688"/>
            <a:ext cx="6204216" cy="619669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8FD246A-4CD7-4B91-B577-0EA8203567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738" y="1737055"/>
            <a:ext cx="4123944" cy="2646605"/>
          </a:xfrm>
        </p:spPr>
        <p:txBody>
          <a:bodyPr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/>
              <a:t>Bold statement goes here and should ideally be no longer than this.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75DB2A8-D2A0-4CA9-9139-95BC54924C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91A6615-5937-4DAB-88D1-AEE9A5AEA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498E451-2EC9-4EF7-BE5E-55708E6DD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D61B1-6C0F-F746-8FB9-7BEE3AC5BD08}"/>
              </a:ext>
            </a:extLst>
          </p:cNvPr>
          <p:cNvSpPr txBox="1"/>
          <p:nvPr userDrawn="1"/>
        </p:nvSpPr>
        <p:spPr>
          <a:xfrm>
            <a:off x="-660400" y="29633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MK"/>
          </a:p>
        </p:txBody>
      </p:sp>
      <p:pic>
        <p:nvPicPr>
          <p:cNvPr id="16" name="Picture 8">
            <a:extLst>
              <a:ext uri="{FF2B5EF4-FFF2-40B4-BE49-F238E27FC236}">
                <a16:creationId xmlns:a16="http://schemas.microsoft.com/office/drawing/2014/main" id="{44832E00-C42E-7862-CCD1-C01541878C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6" y="6316328"/>
            <a:ext cx="1702707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7052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SHERBET">
    <p:bg>
      <p:bgPr>
        <a:solidFill>
          <a:srgbClr val="FDFDFD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860462C3-5F14-4A18-AC62-92C75B2C61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53" t="926" b="1253"/>
          <a:stretch/>
        </p:blipFill>
        <p:spPr>
          <a:xfrm>
            <a:off x="0" y="0"/>
            <a:ext cx="6062476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9AE38C0-3184-4B33-AA8F-790367CA8C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41259" y="2326829"/>
            <a:ext cx="2886070" cy="2204339"/>
          </a:xfrm>
        </p:spPr>
        <p:txBody>
          <a:bodyPr anchor="ctr">
            <a:no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osing remark goes here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7443BE-2A5C-F946-8B96-C10ACA0BF4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11375" y="5698777"/>
            <a:ext cx="2502073" cy="5956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F09748-29D7-2B87-17CB-39E9B8A6FD29}"/>
              </a:ext>
            </a:extLst>
          </p:cNvPr>
          <p:cNvSpPr txBox="1"/>
          <p:nvPr userDrawn="1"/>
        </p:nvSpPr>
        <p:spPr>
          <a:xfrm>
            <a:off x="9328489" y="6294433"/>
            <a:ext cx="226784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err="1">
                <a:latin typeface="Proxima Nova Light" panose="02000506030000020004" pitchFamily="50" charset="0"/>
              </a:rPr>
              <a:t>Rldatix.com</a:t>
            </a:r>
            <a:r>
              <a:rPr lang="en-US" sz="1050">
                <a:latin typeface="Proxima Nova Light" panose="02000506030000020004" pitchFamily="50" charset="0"/>
              </a:rPr>
              <a:t> | @</a:t>
            </a:r>
            <a:r>
              <a:rPr lang="en-US" sz="1050" err="1">
                <a:latin typeface="Proxima Nova Light" panose="02000506030000020004" pitchFamily="50" charset="0"/>
              </a:rPr>
              <a:t>RLDatix</a:t>
            </a:r>
            <a:r>
              <a:rPr lang="en-US" sz="1050">
                <a:latin typeface="Proxima Nova Light" panose="02000506030000020004" pitchFamily="50" charset="0"/>
              </a:rPr>
              <a:t> | @</a:t>
            </a:r>
            <a:r>
              <a:rPr lang="en-US" sz="1050" err="1">
                <a:latin typeface="Proxima Nova Light" panose="02000506030000020004" pitchFamily="50" charset="0"/>
              </a:rPr>
              <a:t>AllocateS</a:t>
            </a:r>
            <a:endParaRPr lang="en-US" sz="1050">
              <a:latin typeface="Proxima Nova Light" panose="02000506030000020004" pitchFamily="50" charset="0"/>
            </a:endParaRPr>
          </a:p>
          <a:p>
            <a:endParaRPr lang="en-GB" sz="1050">
              <a:latin typeface="Proxima Nova Light" panose="02000506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9325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grey">
    <p:bg>
      <p:bgPr>
        <a:solidFill>
          <a:srgbClr val="FDFDFD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FEEC0A15-9802-5135-9BFD-46A2CC07FE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53" t="926" b="1253"/>
          <a:stretch/>
        </p:blipFill>
        <p:spPr>
          <a:xfrm>
            <a:off x="0" y="0"/>
            <a:ext cx="6062476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0D79FDD-F7DC-450A-BBFB-6BB4E5301F7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41259" y="2326829"/>
            <a:ext cx="2886070" cy="2204339"/>
          </a:xfrm>
        </p:spPr>
        <p:txBody>
          <a:bodyPr anchor="ctr">
            <a:no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osing remark goes here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2BE651-896D-4DB7-232D-0FE30D586B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11375" y="5698777"/>
            <a:ext cx="2502073" cy="59565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4B593F-8FBC-9390-0041-E32FB59DF8C6}"/>
              </a:ext>
            </a:extLst>
          </p:cNvPr>
          <p:cNvSpPr txBox="1"/>
          <p:nvPr userDrawn="1"/>
        </p:nvSpPr>
        <p:spPr>
          <a:xfrm>
            <a:off x="9328489" y="6294433"/>
            <a:ext cx="226784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err="1">
                <a:latin typeface="Proxima Nova Light" panose="02000506030000020004" pitchFamily="50" charset="0"/>
              </a:rPr>
              <a:t>Rldatix.com</a:t>
            </a:r>
            <a:r>
              <a:rPr lang="en-US" sz="1050">
                <a:latin typeface="Proxima Nova Light" panose="02000506030000020004" pitchFamily="50" charset="0"/>
              </a:rPr>
              <a:t> | @</a:t>
            </a:r>
            <a:r>
              <a:rPr lang="en-US" sz="1050" err="1">
                <a:latin typeface="Proxima Nova Light" panose="02000506030000020004" pitchFamily="50" charset="0"/>
              </a:rPr>
              <a:t>RLDatix</a:t>
            </a:r>
            <a:r>
              <a:rPr lang="en-US" sz="1050">
                <a:latin typeface="Proxima Nova Light" panose="02000506030000020004" pitchFamily="50" charset="0"/>
              </a:rPr>
              <a:t> | @</a:t>
            </a:r>
            <a:r>
              <a:rPr lang="en-US" sz="1050" err="1">
                <a:latin typeface="Proxima Nova Light" panose="02000506030000020004" pitchFamily="50" charset="0"/>
              </a:rPr>
              <a:t>AllocateS</a:t>
            </a:r>
            <a:endParaRPr lang="en-US" sz="1050">
              <a:latin typeface="Proxima Nova Light" panose="02000506030000020004" pitchFamily="50" charset="0"/>
            </a:endParaRPr>
          </a:p>
          <a:p>
            <a:endParaRPr lang="en-GB" sz="1050">
              <a:latin typeface="Proxima Nova Light" panose="02000506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1105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 grey">
    <p:bg>
      <p:bgPr>
        <a:solidFill>
          <a:schemeClr val="bg2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2AED66-8BCD-38B0-955B-F49EC5757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162" y="2132617"/>
            <a:ext cx="11033676" cy="2592766"/>
          </a:xfrm>
        </p:spPr>
        <p:txBody>
          <a:bodyPr>
            <a:noAutofit/>
          </a:bodyPr>
          <a:lstStyle>
            <a:lvl1pPr algn="ctr">
              <a:defRPr sz="44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3630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07C0E493-E100-483E-8BB5-FB9A6BDE371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D8951B0-096C-4A2D-B45B-5D3E85149AE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D2A3E37-F2BE-43D5-90C2-6530782EA3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92F9CB8-1D04-431E-AB0F-E0A91988AAB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3">
            <a:extLst>
              <a:ext uri="{FF2B5EF4-FFF2-40B4-BE49-F238E27FC236}">
                <a16:creationId xmlns:a16="http://schemas.microsoft.com/office/drawing/2014/main" id="{CF9851C2-C6AC-41B2-981F-F5C2152E5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58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45CA8A-A2EA-4D7D-88D6-679609C42C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360612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Sub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943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Point Grey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5911F3F1-3FCF-3B6E-AC65-41D37BD89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E0AFD64-A2E2-2E1B-874A-B597F3834366}"/>
              </a:ext>
            </a:extLst>
          </p:cNvPr>
          <p:cNvSpPr/>
          <p:nvPr userDrawn="1"/>
        </p:nvSpPr>
        <p:spPr>
          <a:xfrm>
            <a:off x="-1" y="0"/>
            <a:ext cx="2573391" cy="6882972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191023-4495-4A1A-99A7-CEE0C8B2BC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1CF922F-E7BB-4209-A586-71088F2F7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9E78ED-1A5A-8B36-16D0-AF8229FFD3B8}"/>
              </a:ext>
            </a:extLst>
          </p:cNvPr>
          <p:cNvSpPr/>
          <p:nvPr userDrawn="1"/>
        </p:nvSpPr>
        <p:spPr>
          <a:xfrm>
            <a:off x="2112951" y="1323742"/>
            <a:ext cx="920873" cy="920873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B1C65E-029A-C11E-E5A6-1E5B4361F92E}"/>
              </a:ext>
            </a:extLst>
          </p:cNvPr>
          <p:cNvSpPr/>
          <p:nvPr userDrawn="1"/>
        </p:nvSpPr>
        <p:spPr>
          <a:xfrm>
            <a:off x="2112951" y="2978792"/>
            <a:ext cx="920873" cy="920873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EB468B3-BB61-6621-28B9-4EF15116DF02}"/>
              </a:ext>
            </a:extLst>
          </p:cNvPr>
          <p:cNvSpPr/>
          <p:nvPr userDrawn="1"/>
        </p:nvSpPr>
        <p:spPr>
          <a:xfrm>
            <a:off x="2112951" y="4633842"/>
            <a:ext cx="920873" cy="920873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42F8EF3E-CAFE-79A3-D88B-855DED6DB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27970" y="1601615"/>
            <a:ext cx="4123944" cy="365126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Heading</a:t>
            </a:r>
          </a:p>
        </p:txBody>
      </p:sp>
      <p:pic>
        <p:nvPicPr>
          <p:cNvPr id="24" name="Picture 23" descr="Shape&#10;&#10;Description automatically generated">
            <a:extLst>
              <a:ext uri="{FF2B5EF4-FFF2-40B4-BE49-F238E27FC236}">
                <a16:creationId xmlns:a16="http://schemas.microsoft.com/office/drawing/2014/main" id="{0EC4B061-255A-AE1B-23FF-862AE8D2A6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0320" y="1036827"/>
            <a:ext cx="3170283" cy="523308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279F7F74-A241-819B-9C61-D934C83446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32" y="253389"/>
            <a:ext cx="2159258" cy="710319"/>
          </a:xfrm>
        </p:spPr>
        <p:txBody>
          <a:bodyPr anchor="ctr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pic>
        <p:nvPicPr>
          <p:cNvPr id="26" name="Picture 9">
            <a:extLst>
              <a:ext uri="{FF2B5EF4-FFF2-40B4-BE49-F238E27FC236}">
                <a16:creationId xmlns:a16="http://schemas.microsoft.com/office/drawing/2014/main" id="{402CCC0D-F370-11C0-205F-E00CE79CD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4132" y="6288892"/>
            <a:ext cx="1903164" cy="419208"/>
          </a:xfrm>
          <a:prstGeom prst="rect">
            <a:avLst/>
          </a:prstGeom>
        </p:spPr>
      </p:pic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852CB0D7-B354-556C-F552-34037F381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7970" y="6288892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2015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1200" y="457200"/>
            <a:ext cx="9144000" cy="1143000"/>
          </a:xfrm>
        </p:spPr>
        <p:txBody>
          <a:bodyPr>
            <a:normAutofit/>
          </a:bodyPr>
          <a:lstStyle>
            <a:lvl1pPr algn="l">
              <a:defRPr sz="3733" b="1" cap="none" baseline="0">
                <a:solidFill>
                  <a:srgbClr val="58595B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 hasCustomPrompt="1"/>
          </p:nvPr>
        </p:nvSpPr>
        <p:spPr>
          <a:xfrm>
            <a:off x="711200" y="1701800"/>
            <a:ext cx="10668000" cy="4165600"/>
          </a:xfrm>
        </p:spPr>
        <p:txBody>
          <a:bodyPr>
            <a:normAutofit/>
          </a:bodyPr>
          <a:lstStyle>
            <a:lvl1pPr>
              <a:spcBef>
                <a:spcPts val="667"/>
              </a:spcBef>
              <a:buFontTx/>
              <a:buNone/>
              <a:defRPr sz="2667" b="0" baseline="0">
                <a:solidFill>
                  <a:srgbClr val="EC6731"/>
                </a:solidFill>
              </a:defRPr>
            </a:lvl1pPr>
            <a:lvl2pPr marL="731502" indent="-365751">
              <a:spcBef>
                <a:spcPts val="667"/>
              </a:spcBef>
              <a:defRPr sz="2400" baseline="0">
                <a:solidFill>
                  <a:srgbClr val="58595B"/>
                </a:solidFill>
              </a:defRPr>
            </a:lvl2pPr>
            <a:lvl3pPr indent="-365751">
              <a:spcBef>
                <a:spcPts val="667"/>
              </a:spcBef>
              <a:defRPr sz="2133" i="1" baseline="0">
                <a:solidFill>
                  <a:srgbClr val="58595B"/>
                </a:solidFill>
              </a:defRPr>
            </a:lvl3pPr>
            <a:lvl4pPr indent="-365751">
              <a:spcBef>
                <a:spcPts val="667"/>
              </a:spcBef>
              <a:defRPr sz="2133" baseline="0">
                <a:solidFill>
                  <a:srgbClr val="1E1E1E"/>
                </a:solidFill>
              </a:defRPr>
            </a:lvl4pPr>
            <a:lvl5pPr indent="-365751">
              <a:spcBef>
                <a:spcPts val="667"/>
              </a:spcBef>
              <a:defRPr sz="2133" baseline="0">
                <a:solidFill>
                  <a:srgbClr val="1E1E1E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FC6331-F36D-F643-9A14-4FB7BD7193F0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40837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DF7A2E5-233D-1E44-9335-FD4789F7BD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8488" y="6379762"/>
            <a:ext cx="1098713" cy="198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198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rgbClr val="0082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5245100" y="-88902"/>
            <a:ext cx="1701800" cy="12192003"/>
          </a:xfrm>
          <a:prstGeom prst="rtTriangle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482600"/>
            <a:ext cx="9956800" cy="47752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67" b="1" cap="none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none" baseline="0"/>
              <a:t>Insert text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751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DEF24-AD59-413F-875B-56D8911EF8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69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Header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0"/>
            <a:ext cx="12192000" cy="685800"/>
          </a:xfrm>
          <a:prstGeom prst="rect">
            <a:avLst/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>
              <a:solidFill>
                <a:srgbClr val="58595B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90C0F80-9F6C-6244-9E2C-9053FF06A78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74356" y="1716350"/>
            <a:ext cx="10643288" cy="3937661"/>
          </a:xfrm>
        </p:spPr>
        <p:txBody>
          <a:bodyPr>
            <a:normAutofit/>
          </a:bodyPr>
          <a:lstStyle>
            <a:lvl1pPr marL="425440" indent="-425440">
              <a:spcBef>
                <a:spcPts val="667"/>
              </a:spcBef>
              <a:buClr>
                <a:srgbClr val="EC6731"/>
              </a:buClr>
              <a:buSzPct val="100000"/>
              <a:buFont typeface="Wingdings" pitchFamily="2" charset="2"/>
              <a:buChar char="§"/>
              <a:defRPr sz="2667">
                <a:solidFill>
                  <a:srgbClr val="58595B"/>
                </a:solidFill>
              </a:defRPr>
            </a:lvl1pPr>
            <a:lvl2pPr marL="731502" indent="-365751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400">
                <a:solidFill>
                  <a:srgbClr val="58595B"/>
                </a:solidFill>
              </a:defRPr>
            </a:lvl2pPr>
            <a:lvl3pPr marL="914377" indent="-365751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133">
                <a:solidFill>
                  <a:srgbClr val="58595B"/>
                </a:solidFill>
              </a:defRPr>
            </a:lvl3pPr>
            <a:lvl4pPr marL="1523962" indent="-365751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>
                <a:solidFill>
                  <a:srgbClr val="58595B"/>
                </a:solidFill>
              </a:defRPr>
            </a:lvl4pPr>
            <a:lvl5pPr marL="1828754" indent="-365751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>
                <a:solidFill>
                  <a:srgbClr val="58595B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06400" y="50800"/>
            <a:ext cx="9753600" cy="584200"/>
          </a:xfrm>
        </p:spPr>
        <p:txBody>
          <a:bodyPr>
            <a:normAutofit/>
          </a:bodyPr>
          <a:lstStyle>
            <a:lvl1pPr algn="l">
              <a:defRPr sz="3200" b="1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>
              <a:solidFill>
                <a:srgbClr val="58595B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DF7A2E5-233D-1E44-9335-FD4789F7BD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8488" y="6379762"/>
            <a:ext cx="1098713" cy="198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54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621EA-5889-4396-A584-D92EAFDEF715}" type="datetimeFigureOut">
              <a:rPr lang="en-GB" smtClean="0"/>
              <a:t>22/09/2022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F9BC-FA75-4CD9-9A05-865EA92325A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02124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5333" y="3429002"/>
            <a:ext cx="9889067" cy="797687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800" b="0" i="1" cap="none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85333" y="1559897"/>
            <a:ext cx="9889067" cy="1259505"/>
          </a:xfrm>
          <a:noFill/>
        </p:spPr>
        <p:txBody>
          <a:bodyPr lIns="91440" tIns="45720" rIns="91440" bIns="45720" anchor="b" anchorCtr="0">
            <a:normAutofit/>
          </a:bodyPr>
          <a:lstStyle>
            <a:lvl1pPr algn="l">
              <a:spcBef>
                <a:spcPts val="0"/>
              </a:spcBef>
              <a:buNone/>
              <a:defRPr sz="5067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9"/>
            <a:ext cx="2631307" cy="12192000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0D346F-B2B1-844F-B6A6-9F724B807EFD}"/>
              </a:ext>
            </a:extLst>
          </p:cNvPr>
          <p:cNvCxnSpPr>
            <a:cxnSpLocks/>
          </p:cNvCxnSpPr>
          <p:nvPr userDrawn="1"/>
        </p:nvCxnSpPr>
        <p:spPr>
          <a:xfrm>
            <a:off x="1320800" y="3124200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BA09731-B1CF-4F55-A0F9-95DAF3C992D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301" y="5850940"/>
            <a:ext cx="2635251" cy="49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987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5333" y="3952115"/>
            <a:ext cx="6942667" cy="797687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800" b="0" i="1" cap="none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85333" y="2149240"/>
            <a:ext cx="9889067" cy="1259505"/>
          </a:xfrm>
          <a:noFill/>
        </p:spPr>
        <p:txBody>
          <a:bodyPr lIns="91440" tIns="45720" rIns="91440" bIns="45720" anchor="b" anchorCtr="0">
            <a:normAutofit/>
          </a:bodyPr>
          <a:lstStyle>
            <a:lvl1pPr algn="l">
              <a:spcBef>
                <a:spcPts val="0"/>
              </a:spcBef>
              <a:buNone/>
              <a:defRPr sz="5067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7"/>
            <a:ext cx="2631312" cy="12192001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0AF2FB-741B-E24F-BF86-CD2C277C83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510101"/>
            <a:ext cx="2540000" cy="45967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0D346F-B2B1-844F-B6A6-9F724B807EFD}"/>
              </a:ext>
            </a:extLst>
          </p:cNvPr>
          <p:cNvCxnSpPr>
            <a:cxnSpLocks/>
          </p:cNvCxnSpPr>
          <p:nvPr userDrawn="1"/>
        </p:nvCxnSpPr>
        <p:spPr>
          <a:xfrm>
            <a:off x="1320800" y="3647313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A5C66B4-90D4-6C40-A8BB-E9CB539F96C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378700" y="5643194"/>
            <a:ext cx="4064000" cy="797687"/>
          </a:xfrm>
        </p:spPr>
        <p:txBody>
          <a:bodyPr anchor="ctr"/>
          <a:lstStyle>
            <a:lvl1pPr algn="ctr">
              <a:buNone/>
              <a:defRPr i="1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Insert Org. Logo</a:t>
            </a:r>
          </a:p>
        </p:txBody>
      </p:sp>
    </p:spTree>
    <p:extLst>
      <p:ext uri="{BB962C8B-B14F-4D97-AF65-F5344CB8AC3E}">
        <p14:creationId xmlns:p14="http://schemas.microsoft.com/office/powerpoint/2010/main" val="578441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3823DFC1-082E-452B-B9D3-BFE7F3D445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2001" cy="6857995"/>
          </a:xfrm>
          <a:prstGeom prst="rect">
            <a:avLst/>
          </a:prstGeom>
        </p:spPr>
      </p:pic>
      <p:sp>
        <p:nvSpPr>
          <p:cNvPr id="12" name="Overlay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2192001" cy="6858000"/>
          </a:xfrm>
          <a:prstGeom prst="rect">
            <a:avLst/>
          </a:prstGeom>
          <a:solidFill>
            <a:schemeClr val="bg1">
              <a:lumMod val="85000"/>
              <a:alpha val="45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5"/>
            <a:ext cx="2631307" cy="12192003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5333" y="3429002"/>
            <a:ext cx="9889067" cy="797687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800" b="0" i="1" cap="none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85333" y="1559897"/>
            <a:ext cx="9889067" cy="1259505"/>
          </a:xfrm>
          <a:noFill/>
        </p:spPr>
        <p:txBody>
          <a:bodyPr lIns="91440" tIns="45720" rIns="91440" bIns="45720" anchor="b" anchorCtr="0">
            <a:normAutofit/>
          </a:bodyPr>
          <a:lstStyle>
            <a:lvl1pPr algn="l">
              <a:spcBef>
                <a:spcPts val="0"/>
              </a:spcBef>
              <a:buNone/>
              <a:defRPr sz="5067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Project </a:t>
            </a:r>
            <a:r>
              <a:rPr lang="en-US" err="1"/>
              <a:t>Belicheck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0D346F-B2B1-844F-B6A6-9F724B807EFD}"/>
              </a:ext>
            </a:extLst>
          </p:cNvPr>
          <p:cNvCxnSpPr>
            <a:cxnSpLocks/>
          </p:cNvCxnSpPr>
          <p:nvPr userDrawn="1"/>
        </p:nvCxnSpPr>
        <p:spPr>
          <a:xfrm>
            <a:off x="1320800" y="3124200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4804F66A-FB10-4E42-9B5E-73360A5E68A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301" y="5850940"/>
            <a:ext cx="2635251" cy="49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726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3308D09F-FA69-4246-8E6C-96A6605E93C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-1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Overlay"/>
          <p:cNvSpPr/>
          <p:nvPr userDrawn="1">
            <p:custDataLst>
              <p:tags r:id="rId3"/>
            </p:custDataLst>
          </p:nvPr>
        </p:nvSpPr>
        <p:spPr>
          <a:xfrm>
            <a:off x="1" y="-1"/>
            <a:ext cx="12191999" cy="6858000"/>
          </a:xfrm>
          <a:prstGeom prst="rect">
            <a:avLst/>
          </a:prstGeom>
          <a:solidFill>
            <a:schemeClr val="bg1">
              <a:lumMod val="85000"/>
              <a:alpha val="45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639551" y="762000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t"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9"/>
            <a:ext cx="2631307" cy="12192000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5333" y="3429002"/>
            <a:ext cx="9889067" cy="797687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800" b="0" i="1" cap="none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85333" y="1559897"/>
            <a:ext cx="9889067" cy="1259505"/>
          </a:xfrm>
          <a:noFill/>
        </p:spPr>
        <p:txBody>
          <a:bodyPr lIns="91440" tIns="45720" rIns="91440" bIns="45720" anchor="b" anchorCtr="0">
            <a:normAutofit/>
          </a:bodyPr>
          <a:lstStyle>
            <a:lvl1pPr algn="l">
              <a:spcBef>
                <a:spcPts val="0"/>
              </a:spcBef>
              <a:buNone/>
              <a:defRPr sz="5067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0D346F-B2B1-844F-B6A6-9F724B807EFD}"/>
              </a:ext>
            </a:extLst>
          </p:cNvPr>
          <p:cNvCxnSpPr>
            <a:cxnSpLocks/>
          </p:cNvCxnSpPr>
          <p:nvPr userDrawn="1"/>
        </p:nvCxnSpPr>
        <p:spPr>
          <a:xfrm>
            <a:off x="1320800" y="3124200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E8B7BBF-565C-4FBF-9319-E3C0F22888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301" y="5850940"/>
            <a:ext cx="2635251" cy="49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5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001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Overlay"/>
          <p:cNvSpPr/>
          <p:nvPr userDrawn="1">
            <p:custDataLst>
              <p:tags r:id="rId2"/>
            </p:custDataLst>
          </p:nvPr>
        </p:nvSpPr>
        <p:spPr>
          <a:xfrm>
            <a:off x="1" y="-1"/>
            <a:ext cx="12191999" cy="6858000"/>
          </a:xfrm>
          <a:prstGeom prst="rect">
            <a:avLst/>
          </a:prstGeom>
          <a:solidFill>
            <a:schemeClr val="bg1">
              <a:lumMod val="85000"/>
              <a:alpha val="27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4780347" y="-553659"/>
            <a:ext cx="2631307" cy="12192000"/>
          </a:xfrm>
          <a:prstGeom prst="rt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5333" y="3429002"/>
            <a:ext cx="9889067" cy="797687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800" b="0" i="1" cap="none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85333" y="1559897"/>
            <a:ext cx="9889067" cy="1259505"/>
          </a:xfrm>
          <a:noFill/>
        </p:spPr>
        <p:txBody>
          <a:bodyPr lIns="91440" tIns="45720" rIns="91440" bIns="45720" anchor="b" anchorCtr="0">
            <a:normAutofit/>
          </a:bodyPr>
          <a:lstStyle>
            <a:lvl1pPr algn="l">
              <a:spcBef>
                <a:spcPts val="0"/>
              </a:spcBef>
              <a:buNone/>
              <a:defRPr sz="5067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00D346F-B2B1-844F-B6A6-9F724B807EFD}"/>
              </a:ext>
            </a:extLst>
          </p:cNvPr>
          <p:cNvCxnSpPr>
            <a:cxnSpLocks/>
          </p:cNvCxnSpPr>
          <p:nvPr userDrawn="1"/>
        </p:nvCxnSpPr>
        <p:spPr>
          <a:xfrm>
            <a:off x="1320800" y="3124200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0F8C0AF8-EA9F-477A-B88D-DAEF571D275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301" y="5850940"/>
            <a:ext cx="2635251" cy="49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091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 point Grey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3B57AFE0-86A6-648A-AAE4-1A27262D02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6474106-3A9A-1799-9F82-64D945CB8E59}"/>
              </a:ext>
            </a:extLst>
          </p:cNvPr>
          <p:cNvSpPr/>
          <p:nvPr userDrawn="1"/>
        </p:nvSpPr>
        <p:spPr>
          <a:xfrm>
            <a:off x="-1" y="0"/>
            <a:ext cx="2573391" cy="6882972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 descr="Shape&#10;&#10;Description automatically generated">
            <a:extLst>
              <a:ext uri="{FF2B5EF4-FFF2-40B4-BE49-F238E27FC236}">
                <a16:creationId xmlns:a16="http://schemas.microsoft.com/office/drawing/2014/main" id="{709E7DE5-8DA2-80D1-5E51-79C9C191B2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0320" y="1036827"/>
            <a:ext cx="3170283" cy="5233081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95BEF5D1-5B0D-3EED-BDCC-D3F0893427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32" y="253389"/>
            <a:ext cx="2159258" cy="710319"/>
          </a:xfrm>
        </p:spPr>
        <p:txBody>
          <a:bodyPr anchor="ctr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pic>
        <p:nvPicPr>
          <p:cNvPr id="25" name="Picture 9">
            <a:extLst>
              <a:ext uri="{FF2B5EF4-FFF2-40B4-BE49-F238E27FC236}">
                <a16:creationId xmlns:a16="http://schemas.microsoft.com/office/drawing/2014/main" id="{B61DA1DF-2EB1-F93A-BE9F-BC02E5C3AF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4132" y="6288892"/>
            <a:ext cx="1903164" cy="41920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639E78ED-1A5A-8B36-16D0-AF8229FFD3B8}"/>
              </a:ext>
            </a:extLst>
          </p:cNvPr>
          <p:cNvSpPr/>
          <p:nvPr userDrawn="1"/>
        </p:nvSpPr>
        <p:spPr>
          <a:xfrm>
            <a:off x="2192326" y="1216335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B1C65E-029A-C11E-E5A6-1E5B4361F92E}"/>
              </a:ext>
            </a:extLst>
          </p:cNvPr>
          <p:cNvSpPr/>
          <p:nvPr userDrawn="1"/>
        </p:nvSpPr>
        <p:spPr>
          <a:xfrm>
            <a:off x="2192326" y="2201695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EB468B3-BB61-6621-28B9-4EF15116DF02}"/>
              </a:ext>
            </a:extLst>
          </p:cNvPr>
          <p:cNvSpPr/>
          <p:nvPr userDrawn="1"/>
        </p:nvSpPr>
        <p:spPr>
          <a:xfrm>
            <a:off x="2203272" y="3192068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42F8EF3E-CAFE-79A3-D88B-855DED6DB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4541" y="1408975"/>
            <a:ext cx="4123944" cy="36512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Heading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9464301-D7AE-AF98-D620-450BD35ACFB6}"/>
              </a:ext>
            </a:extLst>
          </p:cNvPr>
          <p:cNvSpPr/>
          <p:nvPr userDrawn="1"/>
        </p:nvSpPr>
        <p:spPr>
          <a:xfrm>
            <a:off x="2203272" y="4177428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B4C3C64-F7D1-1803-0ACC-559F4467258E}"/>
              </a:ext>
            </a:extLst>
          </p:cNvPr>
          <p:cNvSpPr/>
          <p:nvPr userDrawn="1"/>
        </p:nvSpPr>
        <p:spPr>
          <a:xfrm>
            <a:off x="2202138" y="5162788"/>
            <a:ext cx="750406" cy="750406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1DA63EE2-E5CB-E6F4-04C1-5CEEE1C48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7970" y="6288892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12A1E22D-A223-1C24-F031-AF144D3D9A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321CECC-9C47-1070-371F-A827725A6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6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422400" y="2006600"/>
            <a:ext cx="6299200" cy="4520261"/>
          </a:xfrm>
        </p:spPr>
        <p:txBody>
          <a:bodyPr lIns="91440" tIns="0" rIns="91440" bIns="0">
            <a:normAutofit/>
          </a:bodyPr>
          <a:lstStyle>
            <a:lvl1pPr marL="425429" indent="-425429">
              <a:spcBef>
                <a:spcPts val="66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523925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1828709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5C7CC6-EE62-634C-8BFE-8DACD7599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2400" y="890559"/>
            <a:ext cx="2336800" cy="750487"/>
          </a:xfrm>
          <a:prstGeom prst="rect">
            <a:avLst/>
          </a:prstGeom>
        </p:spPr>
        <p:txBody>
          <a:bodyPr lIns="91440" tIns="0" rIns="91440" bIns="0" anchor="t">
            <a:noAutofit/>
          </a:bodyPr>
          <a:lstStyle>
            <a:lvl1pPr algn="l">
              <a:defRPr sz="4200" b="1" cap="none" baseline="0">
                <a:solidFill>
                  <a:srgbClr val="58595B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B7C07E-46F5-1845-AE11-9B202B046BE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04361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74173C7-9C7E-0E4F-9C87-A88B906F2E8D}"/>
              </a:ext>
            </a:extLst>
          </p:cNvPr>
          <p:cNvCxnSpPr>
            <a:cxnSpLocks/>
          </p:cNvCxnSpPr>
          <p:nvPr userDrawn="1"/>
        </p:nvCxnSpPr>
        <p:spPr>
          <a:xfrm>
            <a:off x="1524000" y="1779277"/>
            <a:ext cx="1422400" cy="0"/>
          </a:xfrm>
          <a:prstGeom prst="line">
            <a:avLst/>
          </a:prstGeom>
          <a:ln w="38100">
            <a:solidFill>
              <a:srgbClr val="EC67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8557C1A9-FEC1-4795-8B36-35F8C028E75D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0D999BB-05D4-4F95-9604-AF97ABBC44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774BBDF-990C-4C33-A4C2-010A0D93D3F6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8297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4572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6916927-0E3D-E740-AD70-87598E58AA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650" y="1976839"/>
            <a:ext cx="10934677" cy="4238756"/>
          </a:xfrm>
        </p:spPr>
        <p:txBody>
          <a:bodyPr>
            <a:normAutofit/>
          </a:bodyPr>
          <a:lstStyle>
            <a:lvl1pPr marL="0" indent="0">
              <a:spcBef>
                <a:spcPts val="66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6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4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2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523925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18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1828709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18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9D61E0-9C21-6049-A821-29E1EE5E202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17617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55FF4E8-B4E4-418B-BBED-5F08DCD5BB1B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BBEEA2D-63E3-4FA3-B57B-783AFDD41D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41A9595-5ECF-46F7-AA39-A0A68E5DAF48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D379CE9-3A05-4F76-AB89-6DA5D8524E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6743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4572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6916927-0E3D-E740-AD70-87598E58AA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651" y="3945080"/>
            <a:ext cx="3251200" cy="1074349"/>
          </a:xfrm>
        </p:spPr>
        <p:txBody>
          <a:bodyPr>
            <a:normAutofit/>
          </a:bodyPr>
          <a:lstStyle>
            <a:lvl1pPr marL="0" indent="0" algn="ctr">
              <a:spcBef>
                <a:spcPts val="667"/>
              </a:spcBef>
              <a:buClr>
                <a:srgbClr val="EC6731"/>
              </a:buClr>
              <a:buSzPct val="100000"/>
              <a:buFont typeface="Wingdings" pitchFamily="2" charset="2"/>
              <a:buNone/>
              <a:defRPr sz="26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400" b="0">
                <a:solidFill>
                  <a:srgbClr val="58595B"/>
                </a:solidFill>
              </a:defRPr>
            </a:lvl2pPr>
            <a:lvl3pPr marL="914354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133" b="0">
                <a:solidFill>
                  <a:srgbClr val="58595B"/>
                </a:solidFill>
              </a:defRPr>
            </a:lvl3pPr>
            <a:lvl4pPr marL="1523925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 b="0">
                <a:solidFill>
                  <a:srgbClr val="58595B"/>
                </a:solidFill>
              </a:defRPr>
            </a:lvl4pPr>
            <a:lvl5pPr marL="1828709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 b="0">
                <a:solidFill>
                  <a:srgbClr val="58595B"/>
                </a:solidFill>
              </a:defRPr>
            </a:lvl5pPr>
          </a:lstStyle>
          <a:p>
            <a:pPr lvl="0"/>
            <a:r>
              <a:rPr lang="en-US"/>
              <a:t>Use this layout for key point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9D61E0-9C21-6049-A821-29E1EE5E202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17617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B97AFA-DCF0-1E46-AC80-2FC7913849C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70400" y="3945080"/>
            <a:ext cx="3251200" cy="1074349"/>
          </a:xfrm>
        </p:spPr>
        <p:txBody>
          <a:bodyPr>
            <a:normAutofit/>
          </a:bodyPr>
          <a:lstStyle>
            <a:lvl1pPr marL="0" indent="0" algn="ctr">
              <a:spcBef>
                <a:spcPts val="667"/>
              </a:spcBef>
              <a:buClr>
                <a:srgbClr val="EC6731"/>
              </a:buClr>
              <a:buSzPct val="100000"/>
              <a:buFont typeface="Wingdings" pitchFamily="2" charset="2"/>
              <a:buNone/>
              <a:defRPr sz="26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400" b="0">
                <a:solidFill>
                  <a:srgbClr val="58595B"/>
                </a:solidFill>
              </a:defRPr>
            </a:lvl2pPr>
            <a:lvl3pPr marL="914354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133" b="0">
                <a:solidFill>
                  <a:srgbClr val="58595B"/>
                </a:solidFill>
              </a:defRPr>
            </a:lvl3pPr>
            <a:lvl4pPr marL="1523925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 b="0">
                <a:solidFill>
                  <a:srgbClr val="58595B"/>
                </a:solidFill>
              </a:defRPr>
            </a:lvl4pPr>
            <a:lvl5pPr marL="1828709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 b="0">
                <a:solidFill>
                  <a:srgbClr val="58595B"/>
                </a:solidFill>
              </a:defRPr>
            </a:lvl5pPr>
          </a:lstStyle>
          <a:p>
            <a:pPr lvl="0"/>
            <a:r>
              <a:rPr lang="en-US"/>
              <a:t>Keep it simple &amp; easy to diges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B9FCBA9-C5ED-9C45-B2A5-A3182858CB1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12151" y="3945080"/>
            <a:ext cx="3251200" cy="1074349"/>
          </a:xfrm>
        </p:spPr>
        <p:txBody>
          <a:bodyPr>
            <a:normAutofit/>
          </a:bodyPr>
          <a:lstStyle>
            <a:lvl1pPr marL="0" indent="0" algn="ctr">
              <a:spcBef>
                <a:spcPts val="667"/>
              </a:spcBef>
              <a:buClr>
                <a:srgbClr val="EC6731"/>
              </a:buClr>
              <a:buSzPct val="100000"/>
              <a:buFont typeface="Wingdings" pitchFamily="2" charset="2"/>
              <a:buNone/>
              <a:defRPr sz="2600" b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400" b="0">
                <a:solidFill>
                  <a:srgbClr val="58595B"/>
                </a:solidFill>
              </a:defRPr>
            </a:lvl2pPr>
            <a:lvl3pPr marL="914354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2133" b="0">
                <a:solidFill>
                  <a:srgbClr val="58595B"/>
                </a:solidFill>
              </a:defRPr>
            </a:lvl3pPr>
            <a:lvl4pPr marL="1523925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 b="0">
                <a:solidFill>
                  <a:srgbClr val="58595B"/>
                </a:solidFill>
              </a:defRPr>
            </a:lvl4pPr>
            <a:lvl5pPr marL="1828709" indent="-365742">
              <a:spcBef>
                <a:spcPts val="667"/>
              </a:spcBef>
              <a:buClr>
                <a:srgbClr val="777879"/>
              </a:buClr>
              <a:buSzPct val="80000"/>
              <a:buFont typeface="Arial" panose="020B0604020202020204" pitchFamily="34" charset="0"/>
              <a:buChar char="•"/>
              <a:defRPr sz="1867" b="0">
                <a:solidFill>
                  <a:srgbClr val="58595B"/>
                </a:solidFill>
              </a:defRPr>
            </a:lvl5pPr>
          </a:lstStyle>
          <a:p>
            <a:pPr lvl="0"/>
            <a:r>
              <a:rPr lang="en-US"/>
              <a:t>Choose icons from the library</a:t>
            </a:r>
          </a:p>
        </p:txBody>
      </p:sp>
      <p:pic>
        <p:nvPicPr>
          <p:cNvPr id="4" name="Graphic 3" descr="Presentation with pie chart">
            <a:extLst>
              <a:ext uri="{FF2B5EF4-FFF2-40B4-BE49-F238E27FC236}">
                <a16:creationId xmlns:a16="http://schemas.microsoft.com/office/drawing/2014/main" id="{4C145EA1-D969-6A4E-8FF6-E345F16BFED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44651" y="2522679"/>
            <a:ext cx="1219200" cy="1219200"/>
          </a:xfrm>
          <a:prstGeom prst="rect">
            <a:avLst/>
          </a:prstGeom>
        </p:spPr>
      </p:pic>
      <p:pic>
        <p:nvPicPr>
          <p:cNvPr id="11" name="Graphic 10" descr="Thought bubble">
            <a:extLst>
              <a:ext uri="{FF2B5EF4-FFF2-40B4-BE49-F238E27FC236}">
                <a16:creationId xmlns:a16="http://schemas.microsoft.com/office/drawing/2014/main" id="{3D511524-D363-E84C-8F5E-2C52C0A0BF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86400" y="2522679"/>
            <a:ext cx="1219200" cy="1219200"/>
          </a:xfrm>
          <a:prstGeom prst="rect">
            <a:avLst/>
          </a:prstGeom>
        </p:spPr>
      </p:pic>
      <p:pic>
        <p:nvPicPr>
          <p:cNvPr id="13" name="Graphic 12" descr="Thumbs up sign">
            <a:extLst>
              <a:ext uri="{FF2B5EF4-FFF2-40B4-BE49-F238E27FC236}">
                <a16:creationId xmlns:a16="http://schemas.microsoft.com/office/drawing/2014/main" id="{1F4DAA68-F8B4-F940-94E5-089CEA5CA1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28151" y="2522679"/>
            <a:ext cx="1219200" cy="12192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8B0BCE9-39AF-499E-B623-401976668F00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EA0E6EB-3855-4F2C-A7F8-6D2B3C08E9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D515414-F8B1-4DEE-B01F-EA56706FFEF2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A3D6F89-B2B8-42C9-93CD-53E8AC9E85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2322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er Bann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BD3C4AB-AAEB-4E02-9A00-DDDC4CAD86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963F865-E47F-4D67-B688-98F733EFA7E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8650" y="1976839"/>
            <a:ext cx="10934681" cy="4238756"/>
          </a:xfrm>
        </p:spPr>
        <p:txBody>
          <a:bodyPr>
            <a:normAutofit/>
          </a:bodyPr>
          <a:lstStyle>
            <a:lvl1pPr marL="0" indent="0">
              <a:spcBef>
                <a:spcPts val="667"/>
              </a:spcBef>
              <a:buClr>
                <a:srgbClr val="EC6731"/>
              </a:buClr>
              <a:buSzPct val="100000"/>
              <a:buFont typeface="Wingdings" pitchFamily="2" charset="2"/>
              <a:buNone/>
              <a:defRPr sz="2600" b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•"/>
              <a:defRPr sz="2400" b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•"/>
              <a:defRPr sz="2200" b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523925" indent="-365742">
              <a:spcBef>
                <a:spcPts val="667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•"/>
              <a:defRPr sz="1800" b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1828709" indent="-365742">
              <a:spcBef>
                <a:spcPts val="667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•"/>
              <a:defRPr sz="1800" b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963B0D2-D780-4F9B-BC92-A3422E92B454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D804B12-831C-49A0-A09A-6E114C9F2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2990AE3-79CF-4E6B-B6DA-460389B75F94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033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with Header Bann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90C0F80-9F6C-6244-9E2C-9053FF06A78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650" y="2146038"/>
            <a:ext cx="10934700" cy="3937661"/>
          </a:xfrm>
        </p:spPr>
        <p:txBody>
          <a:bodyPr>
            <a:normAutofit/>
          </a:bodyPr>
          <a:lstStyle>
            <a:lvl1pPr marL="0" indent="0">
              <a:spcBef>
                <a:spcPts val="667"/>
              </a:spcBef>
              <a:buClr>
                <a:schemeClr val="tx2"/>
              </a:buClr>
              <a:buSzPct val="100000"/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D5272C-7312-4BD3-827C-E69BBCD0F47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1C50A3-A537-4A6E-B4F5-866F6EE42F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F2E278F-BE6F-4ECE-A202-E2218442E113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BD3C4AB-AAEB-4E02-9A00-DDDC4CAD86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6545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Header Bann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rgbClr val="1E43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90C0F80-9F6C-6244-9E2C-9053FF06A78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650" y="2146038"/>
            <a:ext cx="10934700" cy="3937661"/>
          </a:xfrm>
        </p:spPr>
        <p:txBody>
          <a:bodyPr>
            <a:normAutofit/>
          </a:bodyPr>
          <a:lstStyle>
            <a:lvl1pPr marL="0" indent="0">
              <a:spcBef>
                <a:spcPts val="667"/>
              </a:spcBef>
              <a:buClr>
                <a:schemeClr val="tx2"/>
              </a:buClr>
              <a:buSzPct val="100000"/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1E43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D5272C-7312-4BD3-827C-E69BBCD0F47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1C50A3-A537-4A6E-B4F5-866F6EE42F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F2E278F-BE6F-4ECE-A202-E2218442E113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BD3C4AB-AAEB-4E02-9A00-DDDC4CAD86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0025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Header Bann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rgbClr val="483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90C0F80-9F6C-6244-9E2C-9053FF06A78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650" y="2146038"/>
            <a:ext cx="10934700" cy="3937661"/>
          </a:xfrm>
        </p:spPr>
        <p:txBody>
          <a:bodyPr>
            <a:normAutofit/>
          </a:bodyPr>
          <a:lstStyle>
            <a:lvl1pPr marL="0" indent="0">
              <a:spcBef>
                <a:spcPts val="667"/>
              </a:spcBef>
              <a:buClr>
                <a:schemeClr val="tx2"/>
              </a:buClr>
              <a:buSzPct val="100000"/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483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D5272C-7312-4BD3-827C-E69BBCD0F47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1C50A3-A537-4A6E-B4F5-866F6EE42F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F2E278F-BE6F-4ECE-A202-E2218442E113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BD3C4AB-AAEB-4E02-9A00-DDDC4CAD86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1098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Header Bann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rgbClr val="0082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90C0F80-9F6C-6244-9E2C-9053FF06A78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650" y="2146038"/>
            <a:ext cx="10934700" cy="3937661"/>
          </a:xfrm>
        </p:spPr>
        <p:txBody>
          <a:bodyPr>
            <a:normAutofit/>
          </a:bodyPr>
          <a:lstStyle>
            <a:lvl1pPr marL="0" indent="0">
              <a:spcBef>
                <a:spcPts val="667"/>
              </a:spcBef>
              <a:buClr>
                <a:schemeClr val="tx2"/>
              </a:buClr>
              <a:buSzPct val="100000"/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3148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54" indent="-365742"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‒"/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>
              <a:spcBef>
                <a:spcPts val="667"/>
              </a:spcBef>
              <a:buClr>
                <a:schemeClr val="tx2"/>
              </a:buClr>
              <a:buSzPct val="80000"/>
              <a:buFontTx/>
              <a:buNone/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688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0082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D5272C-7312-4BD3-827C-E69BBCD0F47C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1C50A3-A537-4A6E-B4F5-866F6EE42F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F2E278F-BE6F-4ECE-A202-E2218442E113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BD3C4AB-AAEB-4E02-9A00-DDDC4CAD86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985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buNone/>
              <a:defRPr i="1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Insert full screen image </a:t>
            </a:r>
          </a:p>
        </p:txBody>
      </p:sp>
    </p:spTree>
    <p:extLst>
      <p:ext uri="{BB962C8B-B14F-4D97-AF65-F5344CB8AC3E}">
        <p14:creationId xmlns:p14="http://schemas.microsoft.com/office/powerpoint/2010/main" val="14886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28651" y="1925092"/>
            <a:ext cx="6400800" cy="4209009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7397751" y="1925092"/>
            <a:ext cx="4165600" cy="4209009"/>
          </a:xfrm>
        </p:spPr>
        <p:txBody>
          <a:bodyPr anchor="ctr" anchorCtr="0">
            <a:normAutofit/>
          </a:bodyPr>
          <a:lstStyle>
            <a:lvl1pPr marL="0" indent="0">
              <a:buClr>
                <a:srgbClr val="EC6731"/>
              </a:buClr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361A266-719B-4943-B03E-D1DA0F7D53A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66237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558A2B1-1154-46A8-9858-1B7394E77AD3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8A7CEB3-B5AD-4E23-9630-43362DFA1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C495183-32E3-4022-9515-476EE1FC1247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E88183F-BCDB-48CC-92A8-229B9CFFE0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6593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0 Point Grey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EB979A8F-0070-B6E5-7186-C58EB4A3DF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r="23133" b="1088"/>
          <a:stretch/>
        </p:blipFill>
        <p:spPr>
          <a:xfrm>
            <a:off x="6738255" y="-1"/>
            <a:ext cx="5453745" cy="685800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4A5DB7A-491C-0646-9300-86CBCEBEE138}"/>
              </a:ext>
            </a:extLst>
          </p:cNvPr>
          <p:cNvSpPr/>
          <p:nvPr userDrawn="1"/>
        </p:nvSpPr>
        <p:spPr>
          <a:xfrm>
            <a:off x="-1" y="0"/>
            <a:ext cx="2573391" cy="6882972"/>
          </a:xfrm>
          <a:prstGeom prst="rect">
            <a:avLst/>
          </a:prstGeom>
          <a:solidFill>
            <a:schemeClr val="tx2">
              <a:alpha val="595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68FBA3A5-EAFB-3543-8123-2C33016819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32078" y="873992"/>
            <a:ext cx="4123944" cy="365126"/>
          </a:xfrm>
        </p:spPr>
        <p:txBody>
          <a:bodyPr>
            <a:normAutofit/>
          </a:bodyPr>
          <a:lstStyle>
            <a:lvl1pPr marL="0" indent="0" algn="l"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Heading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9E78ED-1A5A-8B36-16D0-AF8229FFD3B8}"/>
              </a:ext>
            </a:extLst>
          </p:cNvPr>
          <p:cNvSpPr/>
          <p:nvPr userDrawn="1"/>
        </p:nvSpPr>
        <p:spPr>
          <a:xfrm>
            <a:off x="2336741" y="802466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8FAF26E-F896-FED0-5CCA-D0EB31A7004C}"/>
              </a:ext>
            </a:extLst>
          </p:cNvPr>
          <p:cNvSpPr/>
          <p:nvPr userDrawn="1"/>
        </p:nvSpPr>
        <p:spPr>
          <a:xfrm>
            <a:off x="2335994" y="1356334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64D2E5F-5645-0411-78A1-31AECF2C6F1D}"/>
              </a:ext>
            </a:extLst>
          </p:cNvPr>
          <p:cNvSpPr/>
          <p:nvPr userDrawn="1"/>
        </p:nvSpPr>
        <p:spPr>
          <a:xfrm>
            <a:off x="2335994" y="1905690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6352C91-E29B-1641-C5E0-8E85F8E0D583}"/>
              </a:ext>
            </a:extLst>
          </p:cNvPr>
          <p:cNvSpPr/>
          <p:nvPr userDrawn="1"/>
        </p:nvSpPr>
        <p:spPr>
          <a:xfrm>
            <a:off x="2337885" y="2458309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0A30174-B4F1-EB8E-BE67-84CA74832237}"/>
              </a:ext>
            </a:extLst>
          </p:cNvPr>
          <p:cNvSpPr/>
          <p:nvPr userDrawn="1"/>
        </p:nvSpPr>
        <p:spPr>
          <a:xfrm>
            <a:off x="2335993" y="3010072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9B28F27-EE31-4A76-8275-A17BB3DE7739}"/>
              </a:ext>
            </a:extLst>
          </p:cNvPr>
          <p:cNvSpPr/>
          <p:nvPr userDrawn="1"/>
        </p:nvSpPr>
        <p:spPr>
          <a:xfrm>
            <a:off x="2335993" y="3557558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A10B647-E04C-6865-0E83-11B65EF8E58E}"/>
              </a:ext>
            </a:extLst>
          </p:cNvPr>
          <p:cNvSpPr/>
          <p:nvPr userDrawn="1"/>
        </p:nvSpPr>
        <p:spPr>
          <a:xfrm>
            <a:off x="2335993" y="4113041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776E7EA-3F10-654C-3B9E-49829994183F}"/>
              </a:ext>
            </a:extLst>
          </p:cNvPr>
          <p:cNvSpPr/>
          <p:nvPr userDrawn="1"/>
        </p:nvSpPr>
        <p:spPr>
          <a:xfrm>
            <a:off x="2339173" y="4667701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B1C65E-029A-C11E-E5A6-1E5B4361F92E}"/>
              </a:ext>
            </a:extLst>
          </p:cNvPr>
          <p:cNvSpPr/>
          <p:nvPr userDrawn="1"/>
        </p:nvSpPr>
        <p:spPr>
          <a:xfrm>
            <a:off x="2335993" y="5221569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EB468B3-BB61-6621-28B9-4EF15116DF02}"/>
              </a:ext>
            </a:extLst>
          </p:cNvPr>
          <p:cNvSpPr/>
          <p:nvPr userDrawn="1"/>
        </p:nvSpPr>
        <p:spPr>
          <a:xfrm>
            <a:off x="2330881" y="5775437"/>
            <a:ext cx="473297" cy="473297"/>
          </a:xfrm>
          <a:prstGeom prst="ellipse">
            <a:avLst/>
          </a:prstGeom>
          <a:solidFill>
            <a:srgbClr val="FDFDFD"/>
          </a:solidFill>
          <a:ln>
            <a:noFill/>
          </a:ln>
          <a:effectLst>
            <a:outerShdw blurRad="63500" dist="254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FB9DC652-AB17-22E5-C2F0-6D4E86CA5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7970" y="6288892"/>
            <a:ext cx="6273487" cy="365125"/>
          </a:xfrm>
          <a:prstGeom prst="rect">
            <a:avLst/>
          </a:prstGeom>
        </p:spPr>
        <p:txBody>
          <a:bodyPr anchor="b"/>
          <a:lstStyle>
            <a:lvl1pPr algn="l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26" name="Picture 25" descr="Shape&#10;&#10;Description automatically generated">
            <a:extLst>
              <a:ext uri="{FF2B5EF4-FFF2-40B4-BE49-F238E27FC236}">
                <a16:creationId xmlns:a16="http://schemas.microsoft.com/office/drawing/2014/main" id="{E83E64AB-C557-696D-D05A-B57570CF26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0320" y="1036827"/>
            <a:ext cx="3170283" cy="5233081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8B6DC9B9-8113-E2F9-FEDE-D775AC3BD0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32" y="253389"/>
            <a:ext cx="2159258" cy="710319"/>
          </a:xfrm>
        </p:spPr>
        <p:txBody>
          <a:bodyPr anchor="ctr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pic>
        <p:nvPicPr>
          <p:cNvPr id="37" name="Picture 9">
            <a:extLst>
              <a:ext uri="{FF2B5EF4-FFF2-40B4-BE49-F238E27FC236}">
                <a16:creationId xmlns:a16="http://schemas.microsoft.com/office/drawing/2014/main" id="{96BA80DB-EE10-A606-ADEE-9D0BD2F81A7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4132" y="6288892"/>
            <a:ext cx="1903164" cy="419208"/>
          </a:xfrm>
          <a:prstGeom prst="rect">
            <a:avLst/>
          </a:prstGeom>
        </p:spPr>
      </p:pic>
      <p:sp>
        <p:nvSpPr>
          <p:cNvPr id="39" name="Date Placeholder 3">
            <a:extLst>
              <a:ext uri="{FF2B5EF4-FFF2-40B4-BE49-F238E27FC236}">
                <a16:creationId xmlns:a16="http://schemas.microsoft.com/office/drawing/2014/main" id="{72C3B318-707C-0E86-4D26-F15571E7AA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40" name="Slide Number Placeholder 5">
            <a:extLst>
              <a:ext uri="{FF2B5EF4-FFF2-40B4-BE49-F238E27FC236}">
                <a16:creationId xmlns:a16="http://schemas.microsoft.com/office/drawing/2014/main" id="{1914CFF4-9080-A8C5-A36E-DB149D81F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445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-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6EDD2F-443A-994C-911A-4C8A0A041C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01200" y="2260600"/>
            <a:ext cx="4694400" cy="2641600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74" y="1971249"/>
            <a:ext cx="6625255" cy="407999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3308286-45D9-4D4F-AE04-2F7BB972252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04D91DF-9A98-4D06-8328-C808B48855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53E8BDE-0202-428B-B79C-CF2134894606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EFFAE21-E88D-4BC3-94C8-CD9FE10706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6E2AB419-7156-498F-A3B3-E40AAD68E9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97751" y="1925092"/>
            <a:ext cx="4165600" cy="4209009"/>
          </a:xfrm>
        </p:spPr>
        <p:txBody>
          <a:bodyPr anchor="ctr" anchorCtr="0">
            <a:normAutofit/>
          </a:bodyPr>
          <a:lstStyle>
            <a:lvl1pPr marL="0" indent="0">
              <a:buClr>
                <a:srgbClr val="EC6731"/>
              </a:buClr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39EFB89-1A89-4418-BB6A-45BD6D0E890E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66237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701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361A266-719B-4943-B03E-D1DA0F7D53A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6866237"/>
            <a:ext cx="12192000" cy="17163"/>
          </a:xfrm>
          <a:prstGeom prst="line">
            <a:avLst/>
          </a:prstGeom>
          <a:ln w="7620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6EDD2F-443A-994C-911A-4C8A0A041C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" y="2543132"/>
            <a:ext cx="5283200" cy="2972925"/>
          </a:xfrm>
          <a:effectLst/>
        </p:spPr>
        <p:txBody>
          <a:bodyPr/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08A000A-4556-4071-8A53-5E4550CCF64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DFAF49C-8AE2-4728-B7DB-8C28976660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F80DBAA-4F8C-4292-9A99-54497C6590D9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2F6D081-93BC-4751-BC39-180A74DEBC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331AF810-972B-4850-BA44-64F02E7061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94505" y="1925092"/>
            <a:ext cx="4768847" cy="4209009"/>
          </a:xfrm>
        </p:spPr>
        <p:txBody>
          <a:bodyPr anchor="ctr" anchorCtr="0">
            <a:normAutofit/>
          </a:bodyPr>
          <a:lstStyle>
            <a:lvl1pPr marL="0" indent="0">
              <a:buClr>
                <a:srgbClr val="EC6731"/>
              </a:buClr>
              <a:buFontTx/>
              <a:buNone/>
              <a:defRPr sz="26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4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22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defRPr sz="180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358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poi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908800" y="0"/>
            <a:ext cx="5264149" cy="685800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5673676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2A252FD-F1D4-4580-93F6-F69CDBA153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1" y="1295402"/>
            <a:ext cx="5673676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17190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able Placeholder 3"/>
          <p:cNvSpPr>
            <a:spLocks noGrp="1"/>
          </p:cNvSpPr>
          <p:nvPr>
            <p:ph type="tbl" sz="quarter" idx="10" hasCustomPrompt="1"/>
          </p:nvPr>
        </p:nvSpPr>
        <p:spPr>
          <a:xfrm>
            <a:off x="406400" y="381000"/>
            <a:ext cx="11277600" cy="4368800"/>
          </a:xfrm>
        </p:spPr>
        <p:txBody>
          <a:bodyPr anchor="ctr"/>
          <a:lstStyle>
            <a:lvl1pPr algn="ctr">
              <a:buNone/>
              <a:defRPr i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Insert tab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4749800"/>
            <a:ext cx="11277600" cy="1219200"/>
          </a:xfrm>
        </p:spPr>
        <p:txBody>
          <a:bodyPr>
            <a:normAutofit/>
          </a:bodyPr>
          <a:lstStyle>
            <a:lvl1pPr>
              <a:buFontTx/>
              <a:buNone/>
              <a:defRPr sz="3200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buClr>
                <a:srgbClr val="EC6731"/>
              </a:buClr>
              <a:defRPr sz="2400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60BD174-95EC-471F-8A62-D42A1962278B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9D4A2FD-8095-476C-B07E-F5F1F78E49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85038F7-5A92-4D01-8E4F-57B13474A73D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623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4749800"/>
            <a:ext cx="11277600" cy="1219200"/>
          </a:xfrm>
        </p:spPr>
        <p:txBody>
          <a:bodyPr>
            <a:normAutofit/>
          </a:bodyPr>
          <a:lstStyle>
            <a:lvl1pPr>
              <a:buFontTx/>
              <a:buNone/>
              <a:defRPr sz="3200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buClr>
                <a:srgbClr val="EC6731"/>
              </a:buClr>
              <a:defRPr sz="2400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1" hasCustomPrompt="1"/>
          </p:nvPr>
        </p:nvSpPr>
        <p:spPr>
          <a:xfrm>
            <a:off x="406400" y="381000"/>
            <a:ext cx="11277600" cy="4368800"/>
          </a:xfrm>
        </p:spPr>
        <p:txBody>
          <a:bodyPr anchor="ctr"/>
          <a:lstStyle>
            <a:lvl1pPr algn="ctr">
              <a:buNone/>
              <a:defRPr i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Insert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1E43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A5B6DA1-2491-4874-9959-78DF5955ECB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4CF6A1-AC28-4471-A320-B6974D6E60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C5D37D5-215A-48E2-B071-E15C44162FF9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451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4749800"/>
            <a:ext cx="11277600" cy="1219200"/>
          </a:xfrm>
        </p:spPr>
        <p:txBody>
          <a:bodyPr>
            <a:normAutofit/>
          </a:bodyPr>
          <a:lstStyle>
            <a:lvl1pPr>
              <a:buFontTx/>
              <a:buNone/>
              <a:defRPr sz="3200" b="1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buClr>
                <a:srgbClr val="EC6731"/>
              </a:buClr>
              <a:defRPr sz="2400" baseline="0">
                <a:solidFill>
                  <a:srgbClr val="58595B"/>
                </a:solidFill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1" hasCustomPrompt="1"/>
          </p:nvPr>
        </p:nvSpPr>
        <p:spPr>
          <a:xfrm>
            <a:off x="406400" y="381000"/>
            <a:ext cx="11277600" cy="4368800"/>
          </a:xfrm>
        </p:spPr>
        <p:txBody>
          <a:bodyPr anchor="ctr"/>
          <a:lstStyle>
            <a:lvl1pPr algn="ctr">
              <a:buNone/>
              <a:defRPr i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Insert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0082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F561C32-CA87-4030-9A63-D02800A4912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6AD1BE5-2DBF-45CA-9C22-BDEDEA5162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F1F5A3C-7878-4098-A1ED-4E3559C955F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505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er Ba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671B53A-6AD2-4652-8CBE-9A72CED569FA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687727-D89D-AF4C-8469-59E3722EDA74}"/>
              </a:ext>
            </a:extLst>
          </p:cNvPr>
          <p:cNvSpPr/>
          <p:nvPr userDrawn="1"/>
        </p:nvSpPr>
        <p:spPr>
          <a:xfrm>
            <a:off x="0" y="6786161"/>
            <a:ext cx="12192000" cy="84539"/>
          </a:xfrm>
          <a:prstGeom prst="rect">
            <a:avLst/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8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614DC53-8DDE-404E-AA88-DD44F49CCB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063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">
    <p:bg>
      <p:bgPr>
        <a:solidFill>
          <a:srgbClr val="5859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1" y="1041400"/>
            <a:ext cx="10934700" cy="47752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00" b="1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none" baseline="0"/>
              <a:t>Insert text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302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Blue">
    <p:bg>
      <p:bgPr>
        <a:solidFill>
          <a:srgbClr val="1E43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82600"/>
            <a:ext cx="10934700" cy="47752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00" b="1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none" baseline="0"/>
              <a:t>Insert text here</a:t>
            </a:r>
            <a:endParaRPr lang="en-US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5245100" y="-88902"/>
            <a:ext cx="1701800" cy="12192003"/>
          </a:xfrm>
          <a:prstGeom prst="rtTriangle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8220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urple">
    <p:bg>
      <p:bgPr>
        <a:solidFill>
          <a:srgbClr val="483C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5245100" y="-88902"/>
            <a:ext cx="1701800" cy="12192003"/>
          </a:xfrm>
          <a:prstGeom prst="rtTriangle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82600"/>
            <a:ext cx="10934700" cy="47752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00" b="1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none" baseline="0"/>
              <a:t>Insert text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131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Logo"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87C8950-DE7F-4190-9035-F7347EB491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339" y="1024133"/>
            <a:ext cx="10918371" cy="5088344"/>
          </a:xfrm>
        </p:spPr>
        <p:txBody>
          <a:bodyPr>
            <a:noAutofit/>
          </a:bodyPr>
          <a:lstStyle>
            <a:lvl1pPr>
              <a:defRPr sz="2000"/>
            </a:lvl1pPr>
            <a:lvl2pPr marL="685800" indent="-228600">
              <a:buFont typeface="Arial" panose="020B0604020202020204" pitchFamily="34" charset="0"/>
              <a:buChar char="-"/>
              <a:defRPr sz="2000"/>
            </a:lvl2pPr>
            <a:lvl3pPr marL="1143000" indent="-228600">
              <a:buFont typeface="Arial" panose="020B0604020202020204" pitchFamily="34" charset="0"/>
              <a:buChar char="-"/>
              <a:defRPr sz="2000"/>
            </a:lvl3pPr>
            <a:lvl4pPr marL="1600200" indent="-228600">
              <a:buFont typeface="Arial" panose="020B0604020202020204" pitchFamily="34" charset="0"/>
              <a:buChar char="-"/>
              <a:defRPr sz="2000"/>
            </a:lvl4pPr>
            <a:lvl5pPr marL="2057400" indent="-228600">
              <a:buFont typeface="Arial" panose="020B0604020202020204" pitchFamily="34" charset="0"/>
              <a:buChar char="-"/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863478-71FE-6A42-B8E1-370D6D651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202" y="100022"/>
            <a:ext cx="10854597" cy="592629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F2317EC-422C-66F4-D769-80CBCBFCCC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8451" y="100026"/>
            <a:ext cx="593345" cy="59262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F7F2A9-D56B-9064-F6BB-5BB34C3C2E65}"/>
              </a:ext>
            </a:extLst>
          </p:cNvPr>
          <p:cNvCxnSpPr>
            <a:cxnSpLocks/>
          </p:cNvCxnSpPr>
          <p:nvPr userDrawn="1"/>
        </p:nvCxnSpPr>
        <p:spPr>
          <a:xfrm>
            <a:off x="185202" y="894607"/>
            <a:ext cx="1157659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D2567E4-81FC-39E4-27A7-60045E431B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03971" y="6316328"/>
            <a:ext cx="1465308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83D6DA44-4E9A-4267-901D-E095ABC78187}" type="datetime5">
              <a:rPr lang="en-GB" smtClean="0"/>
              <a:pPr/>
              <a:t>22-Sep-22</a:t>
            </a:fld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3F3F938-92E4-A855-8E05-3608795C8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8625" y="6322455"/>
            <a:ext cx="6603998" cy="365125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33B3697-2081-6C10-057A-D8D268724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212" y="6305444"/>
            <a:ext cx="456415" cy="29391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3F638A02-4B3B-4CED-A4AC-3925203637D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1642AC0E-2C49-94A0-83A2-CA729069CB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9247" y="6316328"/>
            <a:ext cx="1702705" cy="37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79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Teal">
    <p:bg>
      <p:bgPr>
        <a:solidFill>
          <a:srgbClr val="0082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2EA5C47-10AE-4741-9DA3-23E38C94AF05}"/>
              </a:ext>
            </a:extLst>
          </p:cNvPr>
          <p:cNvSpPr/>
          <p:nvPr userDrawn="1"/>
        </p:nvSpPr>
        <p:spPr>
          <a:xfrm rot="16200000">
            <a:off x="5245100" y="-88902"/>
            <a:ext cx="1701800" cy="12192003"/>
          </a:xfrm>
          <a:prstGeom prst="rtTriangle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82600"/>
            <a:ext cx="10934700" cy="47752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00" b="1" cap="none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none" baseline="0"/>
              <a:t>Insert text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79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298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6EDEC5B8-C55C-481C-AA5C-DDDBAB702C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C673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C673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2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5C9571-B737-4977-8EE1-0ECBEF939F6F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DDA5775-06E2-4497-8FE8-F2891B2718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D531C68-B389-469F-B6EF-30A41246C6DA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Date Placeholder 56">
            <a:extLst>
              <a:ext uri="{FF2B5EF4-FFF2-40B4-BE49-F238E27FC236}">
                <a16:creationId xmlns:a16="http://schemas.microsoft.com/office/drawing/2014/main" id="{BA79AFE4-45A1-4BFD-AA0F-8F6E4AC8D21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134FAFB-9D0B-4341-8ACC-D6D2157051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642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8518DA7-D6FB-4059-A599-626C6262921F}"/>
              </a:ext>
            </a:extLst>
          </p:cNvPr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1" name="Title 1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10934700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title</a:t>
            </a:r>
          </a:p>
        </p:txBody>
      </p:sp>
      <p:sp>
        <p:nvSpPr>
          <p:cNvPr id="9" name="Date Placeholder 56">
            <a:extLst>
              <a:ext uri="{FF2B5EF4-FFF2-40B4-BE49-F238E27FC236}">
                <a16:creationId xmlns:a16="http://schemas.microsoft.com/office/drawing/2014/main" id="{E1AD584D-39D6-4C4E-802D-0392EF5918A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41025D-5288-4ACC-A94F-780547741856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915F419-8A98-4113-B427-68A50D164A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43893E6-7556-4E21-BA98-F721B5F60C44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38C335D-940B-4C3F-8866-44461444F5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95402"/>
            <a:ext cx="10934689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4646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43229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1" y="1687149"/>
            <a:ext cx="3319700" cy="2075227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3200">
                <a:solidFill>
                  <a:srgbClr val="58595B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Date Placeholder 56">
            <a:extLst>
              <a:ext uri="{FF2B5EF4-FFF2-40B4-BE49-F238E27FC236}">
                <a16:creationId xmlns:a16="http://schemas.microsoft.com/office/drawing/2014/main" id="{873C6A3C-2174-4F03-8AAD-D33555F2A9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F2D4DC7-CC45-4D5C-9B36-1CC6A65075D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AD97053-3721-4DF9-9437-6431512B2A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05F0E6C-4ED5-469F-ADBC-952512890CB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C65CE79-9EB2-406E-B1FE-B17FA4440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952877"/>
            <a:ext cx="3319701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9802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325C748-FF74-4C3C-91F8-8AACEC04D0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4DB2C3-B8AE-4874-BD0E-15B4E4C95C07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7651519-08D4-4F3D-9044-6E0EA5B00EE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3BB74CE-C386-4F27-9C16-9C2C815748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F00E0F-BC37-4A62-8D0C-5C656CB7B966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379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1944594-972C-4AB4-AEC2-765677A453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66F311-E1D9-41A4-BF64-858C1F216BBA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2E7C7D9-83BE-43D4-9232-08EB5D92658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AE4F52C-3794-4EFC-A855-CE0C97FA00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61482B9-D7BD-453F-90E0-34F42D6E20EF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102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11683C6-E8A0-478A-9372-76C8FF94F6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58595B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88EC48-EB0B-4F82-952E-8E1A13D40C97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5F82F27-8691-466A-AFC7-93FF41D6DA89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047F735-5DC7-45C3-A0D8-20765EA6FE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918EC7-531D-495A-B882-47BF8C6E30D5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36813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8651" y="456100"/>
            <a:ext cx="6126355" cy="777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DACDC0D-0606-41C3-A2D5-167959ADCB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58595B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55FD91-23FD-4394-8DFB-48F13598D250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5ED9A15-A573-4FC2-84B6-4B4593D3647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D110105-B76F-49C7-BCC9-FD472C4390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6DA5CBA-9221-44DB-84C0-0E985355995F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95000"/>
                  <a:alpha val="59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B84467F4-FBD0-41E7-BE68-990CE0938D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1" y="1295402"/>
            <a:ext cx="6126356" cy="26827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2285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2" name="Date Placeholder 56">
            <a:extLst>
              <a:ext uri="{FF2B5EF4-FFF2-40B4-BE49-F238E27FC236}">
                <a16:creationId xmlns:a16="http://schemas.microsoft.com/office/drawing/2014/main" id="{BD99CB5F-BFD7-4917-9B9C-3FA6D355901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5937" y="6438640"/>
            <a:ext cx="1482051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58F06DC-40AB-4A83-AF30-8DA3CB0BFDC8}"/>
              </a:ext>
            </a:extLst>
          </p:cNvPr>
          <p:cNvGrpSpPr/>
          <p:nvPr userDrawn="1"/>
        </p:nvGrpSpPr>
        <p:grpSpPr>
          <a:xfrm>
            <a:off x="10295570" y="6416269"/>
            <a:ext cx="1230012" cy="198839"/>
            <a:chOff x="10041569" y="6479767"/>
            <a:chExt cx="1230012" cy="19883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6855117-0B1A-40E4-9F34-48DF45D943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1569" y="6479767"/>
              <a:ext cx="1098713" cy="19883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9AD10B6-95B4-4E66-B6CC-5D2B0752EBC1}"/>
                </a:ext>
              </a:extLst>
            </p:cNvPr>
            <p:cNvCxnSpPr/>
            <p:nvPr userDrawn="1"/>
          </p:nvCxnSpPr>
          <p:spPr>
            <a:xfrm>
              <a:off x="11271581" y="6495100"/>
              <a:ext cx="0" cy="153888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79077D08-E36E-4FC3-A63C-AA763A91877E}"/>
              </a:ext>
            </a:extLst>
          </p:cNvPr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8995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85.xml"/><Relationship Id="rId42" Type="http://schemas.openxmlformats.org/officeDocument/2006/relationships/slideLayout" Target="../slideLayouts/slideLayout106.xml"/><Relationship Id="rId47" Type="http://schemas.openxmlformats.org/officeDocument/2006/relationships/slideLayout" Target="../slideLayouts/slideLayout111.xml"/><Relationship Id="rId63" Type="http://schemas.openxmlformats.org/officeDocument/2006/relationships/slideLayout" Target="../slideLayouts/slideLayout127.xml"/><Relationship Id="rId68" Type="http://schemas.openxmlformats.org/officeDocument/2006/relationships/slideLayout" Target="../slideLayouts/slideLayout132.xml"/><Relationship Id="rId84" Type="http://schemas.openxmlformats.org/officeDocument/2006/relationships/slideLayout" Target="../slideLayouts/slideLayout148.xml"/><Relationship Id="rId89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53" Type="http://schemas.openxmlformats.org/officeDocument/2006/relationships/slideLayout" Target="../slideLayouts/slideLayout117.xml"/><Relationship Id="rId58" Type="http://schemas.openxmlformats.org/officeDocument/2006/relationships/slideLayout" Target="../slideLayouts/slideLayout122.xml"/><Relationship Id="rId74" Type="http://schemas.openxmlformats.org/officeDocument/2006/relationships/slideLayout" Target="../slideLayouts/slideLayout138.xml"/><Relationship Id="rId79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69.xml"/><Relationship Id="rId90" Type="http://schemas.openxmlformats.org/officeDocument/2006/relationships/slideLayout" Target="../slideLayouts/slideLayout154.xml"/><Relationship Id="rId95" Type="http://schemas.openxmlformats.org/officeDocument/2006/relationships/theme" Target="../theme/theme2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107.xml"/><Relationship Id="rId48" Type="http://schemas.openxmlformats.org/officeDocument/2006/relationships/slideLayout" Target="../slideLayouts/slideLayout112.xml"/><Relationship Id="rId64" Type="http://schemas.openxmlformats.org/officeDocument/2006/relationships/slideLayout" Target="../slideLayouts/slideLayout128.xml"/><Relationship Id="rId69" Type="http://schemas.openxmlformats.org/officeDocument/2006/relationships/slideLayout" Target="../slideLayouts/slideLayout133.xml"/><Relationship Id="rId80" Type="http://schemas.openxmlformats.org/officeDocument/2006/relationships/slideLayout" Target="../slideLayouts/slideLayout144.xml"/><Relationship Id="rId85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Relationship Id="rId46" Type="http://schemas.openxmlformats.org/officeDocument/2006/relationships/slideLayout" Target="../slideLayouts/slideLayout110.xml"/><Relationship Id="rId59" Type="http://schemas.openxmlformats.org/officeDocument/2006/relationships/slideLayout" Target="../slideLayouts/slideLayout123.xml"/><Relationship Id="rId67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84.xml"/><Relationship Id="rId41" Type="http://schemas.openxmlformats.org/officeDocument/2006/relationships/slideLayout" Target="../slideLayouts/slideLayout105.xml"/><Relationship Id="rId54" Type="http://schemas.openxmlformats.org/officeDocument/2006/relationships/slideLayout" Target="../slideLayouts/slideLayout118.xml"/><Relationship Id="rId62" Type="http://schemas.openxmlformats.org/officeDocument/2006/relationships/slideLayout" Target="../slideLayouts/slideLayout126.xml"/><Relationship Id="rId70" Type="http://schemas.openxmlformats.org/officeDocument/2006/relationships/slideLayout" Target="../slideLayouts/slideLayout134.xml"/><Relationship Id="rId75" Type="http://schemas.openxmlformats.org/officeDocument/2006/relationships/slideLayout" Target="../slideLayouts/slideLayout139.xml"/><Relationship Id="rId83" Type="http://schemas.openxmlformats.org/officeDocument/2006/relationships/slideLayout" Target="../slideLayouts/slideLayout147.xml"/><Relationship Id="rId88" Type="http://schemas.openxmlformats.org/officeDocument/2006/relationships/slideLayout" Target="../slideLayouts/slideLayout152.xml"/><Relationship Id="rId91" Type="http://schemas.openxmlformats.org/officeDocument/2006/relationships/slideLayout" Target="../slideLayouts/slideLayout155.xml"/><Relationship Id="rId96" Type="http://schemas.openxmlformats.org/officeDocument/2006/relationships/tags" Target="../tags/tag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49" Type="http://schemas.openxmlformats.org/officeDocument/2006/relationships/slideLayout" Target="../slideLayouts/slideLayout113.xml"/><Relationship Id="rId57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95.xml"/><Relationship Id="rId44" Type="http://schemas.openxmlformats.org/officeDocument/2006/relationships/slideLayout" Target="../slideLayouts/slideLayout108.xml"/><Relationship Id="rId52" Type="http://schemas.openxmlformats.org/officeDocument/2006/relationships/slideLayout" Target="../slideLayouts/slideLayout116.xml"/><Relationship Id="rId60" Type="http://schemas.openxmlformats.org/officeDocument/2006/relationships/slideLayout" Target="../slideLayouts/slideLayout124.xml"/><Relationship Id="rId65" Type="http://schemas.openxmlformats.org/officeDocument/2006/relationships/slideLayout" Target="../slideLayouts/slideLayout129.xml"/><Relationship Id="rId73" Type="http://schemas.openxmlformats.org/officeDocument/2006/relationships/slideLayout" Target="../slideLayouts/slideLayout137.xml"/><Relationship Id="rId78" Type="http://schemas.openxmlformats.org/officeDocument/2006/relationships/slideLayout" Target="../slideLayouts/slideLayout142.xml"/><Relationship Id="rId81" Type="http://schemas.openxmlformats.org/officeDocument/2006/relationships/slideLayout" Target="../slideLayouts/slideLayout145.xml"/><Relationship Id="rId86" Type="http://schemas.openxmlformats.org/officeDocument/2006/relationships/slideLayout" Target="../slideLayouts/slideLayout150.xml"/><Relationship Id="rId94" Type="http://schemas.openxmlformats.org/officeDocument/2006/relationships/slideLayout" Target="../slideLayouts/slideLayout158.xml"/><Relationship Id="rId99" Type="http://schemas.openxmlformats.org/officeDocument/2006/relationships/image" Target="../media/image18.emf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103.xml"/><Relationship Id="rId34" Type="http://schemas.openxmlformats.org/officeDocument/2006/relationships/slideLayout" Target="../slideLayouts/slideLayout98.xml"/><Relationship Id="rId50" Type="http://schemas.openxmlformats.org/officeDocument/2006/relationships/slideLayout" Target="../slideLayouts/slideLayout114.xml"/><Relationship Id="rId55" Type="http://schemas.openxmlformats.org/officeDocument/2006/relationships/slideLayout" Target="../slideLayouts/slideLayout119.xml"/><Relationship Id="rId76" Type="http://schemas.openxmlformats.org/officeDocument/2006/relationships/slideLayout" Target="../slideLayouts/slideLayout140.xml"/><Relationship Id="rId97" Type="http://schemas.openxmlformats.org/officeDocument/2006/relationships/tags" Target="../tags/tag5.xml"/><Relationship Id="rId7" Type="http://schemas.openxmlformats.org/officeDocument/2006/relationships/slideLayout" Target="../slideLayouts/slideLayout71.xml"/><Relationship Id="rId71" Type="http://schemas.openxmlformats.org/officeDocument/2006/relationships/slideLayout" Target="../slideLayouts/slideLayout135.xml"/><Relationship Id="rId9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104.xml"/><Relationship Id="rId45" Type="http://schemas.openxmlformats.org/officeDocument/2006/relationships/slideLayout" Target="../slideLayouts/slideLayout109.xml"/><Relationship Id="rId66" Type="http://schemas.openxmlformats.org/officeDocument/2006/relationships/slideLayout" Target="../slideLayouts/slideLayout130.xml"/><Relationship Id="rId87" Type="http://schemas.openxmlformats.org/officeDocument/2006/relationships/slideLayout" Target="../slideLayouts/slideLayout151.xml"/><Relationship Id="rId61" Type="http://schemas.openxmlformats.org/officeDocument/2006/relationships/slideLayout" Target="../slideLayouts/slideLayout125.xml"/><Relationship Id="rId82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56" Type="http://schemas.openxmlformats.org/officeDocument/2006/relationships/slideLayout" Target="../slideLayouts/slideLayout120.xml"/><Relationship Id="rId77" Type="http://schemas.openxmlformats.org/officeDocument/2006/relationships/slideLayout" Target="../slideLayouts/slideLayout141.xml"/><Relationship Id="rId8" Type="http://schemas.openxmlformats.org/officeDocument/2006/relationships/slideLayout" Target="../slideLayouts/slideLayout72.xml"/><Relationship Id="rId51" Type="http://schemas.openxmlformats.org/officeDocument/2006/relationships/slideLayout" Target="../slideLayouts/slideLayout115.xml"/><Relationship Id="rId72" Type="http://schemas.openxmlformats.org/officeDocument/2006/relationships/slideLayout" Target="../slideLayouts/slideLayout136.xml"/><Relationship Id="rId93" Type="http://schemas.openxmlformats.org/officeDocument/2006/relationships/slideLayout" Target="../slideLayouts/slideLayout157.xml"/><Relationship Id="rId98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48DFE9-48C0-4C36-9898-AE37C61D7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DD9C29-6E3D-4E7E-9332-C095CF80AF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2267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840" r:id="rId29"/>
    <p:sldLayoutId id="2147483806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  <p:sldLayoutId id="2147483750" r:id="rId48"/>
    <p:sldLayoutId id="2147483751" r:id="rId49"/>
    <p:sldLayoutId id="2147483752" r:id="rId50"/>
    <p:sldLayoutId id="2147483753" r:id="rId51"/>
    <p:sldLayoutId id="2147483754" r:id="rId52"/>
    <p:sldLayoutId id="2147483755" r:id="rId53"/>
    <p:sldLayoutId id="2147483756" r:id="rId54"/>
    <p:sldLayoutId id="2147483757" r:id="rId55"/>
    <p:sldLayoutId id="2147483758" r:id="rId56"/>
    <p:sldLayoutId id="2147483759" r:id="rId57"/>
    <p:sldLayoutId id="2147483857" r:id="rId58"/>
    <p:sldLayoutId id="2147483953" r:id="rId59"/>
    <p:sldLayoutId id="2147483954" r:id="rId60"/>
    <p:sldLayoutId id="2147483956" r:id="rId61"/>
    <p:sldLayoutId id="2147483957" r:id="rId62"/>
    <p:sldLayoutId id="2147483958" r:id="rId63"/>
    <p:sldLayoutId id="2147483991" r:id="rId6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4511E"/>
        </a:buClr>
        <a:buFont typeface="Arial" panose="020B0604020202020204" pitchFamily="34" charset="0"/>
        <a:buChar char="•"/>
        <a:defRPr lang="en-GB" sz="28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4511E"/>
        </a:buClr>
        <a:buFont typeface="Arial" panose="020B0604020202020204" pitchFamily="34" charset="0"/>
        <a:buChar char="•"/>
        <a:defRPr lang="en-GB" sz="2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4511E"/>
        </a:buClr>
        <a:buFont typeface="Arial" panose="020B0604020202020204" pitchFamily="34" charset="0"/>
        <a:buChar char="•"/>
        <a:defRPr lang="en-GB" sz="20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4511E"/>
        </a:buClr>
        <a:buFont typeface="Arial" panose="020B0604020202020204" pitchFamily="34" charset="0"/>
        <a:buChar char="•"/>
        <a:defRPr lang="en-GB" sz="18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4511E"/>
        </a:buClr>
        <a:buFont typeface="Arial" panose="020B0604020202020204" pitchFamily="34" charset="0"/>
        <a:buChar char="•"/>
        <a:defRPr lang="en-GB" sz="18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8" imgW="270" imgH="270" progId="TCLayout.ActiveDocument.1">
                  <p:embed/>
                </p:oleObj>
              </mc:Choice>
              <mc:Fallback>
                <p:oleObj name="think-cell Slide" r:id="rId9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97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25937" y="6438640"/>
            <a:ext cx="1482051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36351" y="643864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8650" y="456101"/>
            <a:ext cx="10933351" cy="8393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0" lvl="0">
              <a:lnSpc>
                <a:spcPct val="100000"/>
              </a:lnSpc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539628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6" name="Title 13" hidden="1">
            <a:extLst>
              <a:ext uri="{FF2B5EF4-FFF2-40B4-BE49-F238E27FC236}">
                <a16:creationId xmlns:a16="http://schemas.microsoft.com/office/drawing/2014/main" id="{191E1D5F-B9E9-4E8F-AD04-662A70283BF4}"/>
              </a:ext>
            </a:extLst>
          </p:cNvPr>
          <p:cNvSpPr txBox="1">
            <a:spLocks/>
          </p:cNvSpPr>
          <p:nvPr userDrawn="1"/>
        </p:nvSpPr>
        <p:spPr>
          <a:xfrm>
            <a:off x="628651" y="456100"/>
            <a:ext cx="10934700" cy="7758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  <a:sym typeface="+mj-lt"/>
              </a:rPr>
              <a:t>Click to </a:t>
            </a:r>
            <a:r>
              <a:rPr kumimoji="0" lang="fr-FR" sz="2400" b="1" i="0" u="none" strike="noStrike" kern="1200" cap="none" spc="0" normalizeH="0" baseline="0" noProof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  <a:sym typeface="+mj-lt"/>
              </a:rPr>
              <a:t>edit</a:t>
            </a: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  <a:sym typeface="+mj-lt"/>
              </a:rPr>
              <a:t> </a:t>
            </a:r>
            <a:r>
              <a:rPr kumimoji="0" lang="fr-FR" sz="2400" b="1" i="0" u="none" strike="noStrike" kern="1200" cap="none" spc="0" normalizeH="0" baseline="0" noProof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  <a:sym typeface="+mj-lt"/>
              </a:rPr>
              <a:t>title</a:t>
            </a:r>
            <a:endParaRPr kumimoji="0" lang="fr-FR" sz="2400" b="1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 panose="020B0604020202020204"/>
              <a:ea typeface="+mj-ea"/>
              <a:cs typeface="+mj-cs"/>
              <a:sym typeface="+mj-lt"/>
            </a:endParaRPr>
          </a:p>
        </p:txBody>
      </p:sp>
      <p:sp>
        <p:nvSpPr>
          <p:cNvPr id="3" name="MSIPCMContentMarking" descr="{&quot;HashCode&quot;:-264239657,&quot;Placement&quot;:&quot;Footer&quot;,&quot;Top&quot;:521.6203,&quot;Left&quot;:445.922455,&quot;SlideWidth&quot;:960,&quot;SlideHeight&quot;:540}">
            <a:extLst>
              <a:ext uri="{FF2B5EF4-FFF2-40B4-BE49-F238E27FC236}">
                <a16:creationId xmlns:a16="http://schemas.microsoft.com/office/drawing/2014/main" id="{1B7C32D0-1942-41EC-B26C-1BA145CF3CA7}"/>
              </a:ext>
            </a:extLst>
          </p:cNvPr>
          <p:cNvSpPr txBox="1"/>
          <p:nvPr userDrawn="1"/>
        </p:nvSpPr>
        <p:spPr>
          <a:xfrm>
            <a:off x="5663217" y="6672041"/>
            <a:ext cx="865569" cy="138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C7C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81699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  <p:sldLayoutId id="2147483886" r:id="rId28"/>
    <p:sldLayoutId id="2147483887" r:id="rId29"/>
    <p:sldLayoutId id="2147483888" r:id="rId30"/>
    <p:sldLayoutId id="2147483889" r:id="rId31"/>
    <p:sldLayoutId id="2147483890" r:id="rId32"/>
    <p:sldLayoutId id="2147483891" r:id="rId33"/>
    <p:sldLayoutId id="2147483892" r:id="rId34"/>
    <p:sldLayoutId id="2147483893" r:id="rId35"/>
    <p:sldLayoutId id="2147483894" r:id="rId36"/>
    <p:sldLayoutId id="2147483895" r:id="rId37"/>
    <p:sldLayoutId id="2147483896" r:id="rId38"/>
    <p:sldLayoutId id="2147483897" r:id="rId39"/>
    <p:sldLayoutId id="2147483898" r:id="rId40"/>
    <p:sldLayoutId id="2147483899" r:id="rId41"/>
    <p:sldLayoutId id="2147483900" r:id="rId42"/>
    <p:sldLayoutId id="2147483901" r:id="rId43"/>
    <p:sldLayoutId id="2147483902" r:id="rId44"/>
    <p:sldLayoutId id="2147483903" r:id="rId45"/>
    <p:sldLayoutId id="2147483904" r:id="rId46"/>
    <p:sldLayoutId id="2147483905" r:id="rId47"/>
    <p:sldLayoutId id="2147483906" r:id="rId48"/>
    <p:sldLayoutId id="2147483907" r:id="rId49"/>
    <p:sldLayoutId id="2147483908" r:id="rId50"/>
    <p:sldLayoutId id="2147483909" r:id="rId51"/>
    <p:sldLayoutId id="2147483910" r:id="rId52"/>
    <p:sldLayoutId id="2147483911" r:id="rId53"/>
    <p:sldLayoutId id="2147483912" r:id="rId54"/>
    <p:sldLayoutId id="2147483913" r:id="rId55"/>
    <p:sldLayoutId id="2147483914" r:id="rId56"/>
    <p:sldLayoutId id="2147483915" r:id="rId57"/>
    <p:sldLayoutId id="2147483916" r:id="rId58"/>
    <p:sldLayoutId id="2147483917" r:id="rId59"/>
    <p:sldLayoutId id="2147483918" r:id="rId60"/>
    <p:sldLayoutId id="2147483919" r:id="rId61"/>
    <p:sldLayoutId id="2147483920" r:id="rId62"/>
    <p:sldLayoutId id="2147483921" r:id="rId63"/>
    <p:sldLayoutId id="2147483922" r:id="rId64"/>
    <p:sldLayoutId id="2147483923" r:id="rId65"/>
    <p:sldLayoutId id="2147483924" r:id="rId66"/>
    <p:sldLayoutId id="2147483925" r:id="rId67"/>
    <p:sldLayoutId id="2147483926" r:id="rId68"/>
    <p:sldLayoutId id="2147483927" r:id="rId69"/>
    <p:sldLayoutId id="2147483928" r:id="rId70"/>
    <p:sldLayoutId id="2147483929" r:id="rId71"/>
    <p:sldLayoutId id="2147483930" r:id="rId72"/>
    <p:sldLayoutId id="2147483931" r:id="rId73"/>
    <p:sldLayoutId id="2147483932" r:id="rId74"/>
    <p:sldLayoutId id="2147483933" r:id="rId75"/>
    <p:sldLayoutId id="2147483934" r:id="rId76"/>
    <p:sldLayoutId id="2147483935" r:id="rId77"/>
    <p:sldLayoutId id="2147483936" r:id="rId78"/>
    <p:sldLayoutId id="2147483937" r:id="rId79"/>
    <p:sldLayoutId id="2147483938" r:id="rId80"/>
    <p:sldLayoutId id="2147483939" r:id="rId81"/>
    <p:sldLayoutId id="2147483940" r:id="rId82"/>
    <p:sldLayoutId id="2147483941" r:id="rId83"/>
    <p:sldLayoutId id="2147483942" r:id="rId84"/>
    <p:sldLayoutId id="2147483943" r:id="rId85"/>
    <p:sldLayoutId id="2147483944" r:id="rId86"/>
    <p:sldLayoutId id="2147483945" r:id="rId87"/>
    <p:sldLayoutId id="2147483946" r:id="rId88"/>
    <p:sldLayoutId id="2147483947" r:id="rId89"/>
    <p:sldLayoutId id="2147483948" r:id="rId90"/>
    <p:sldLayoutId id="2147483949" r:id="rId91"/>
    <p:sldLayoutId id="2147483950" r:id="rId92"/>
    <p:sldLayoutId id="2147483951" r:id="rId93"/>
    <p:sldLayoutId id="2147483952" r:id="rId9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400" b="1" kern="1200" dirty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b="1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b="1" kern="1200" baseline="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mp"/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icfrontend-chris.cloud9software.co.uk/en-us/features/#get-organised.esi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icfrontend-chris.cloud9software.co.uk/en-us/features/#get-organised.esi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FD8D9-B4D7-A554-08CC-DFDB0D4D9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70" y="1647588"/>
            <a:ext cx="6746100" cy="1047964"/>
          </a:xfrm>
        </p:spPr>
        <p:txBody>
          <a:bodyPr/>
          <a:lstStyle/>
          <a:p>
            <a:pPr algn="ctr"/>
            <a:r>
              <a:rPr lang="en-US" dirty="0">
                <a:latin typeface="Arial"/>
                <a:cs typeface="Arial"/>
              </a:rPr>
              <a:t>Intelligentcontract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Walk Through</a:t>
            </a:r>
            <a:endParaRPr lang="en-M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39DE7C-3F6C-6783-A436-AB402ACA41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70" y="3429000"/>
            <a:ext cx="6594458" cy="1527142"/>
          </a:xfrm>
        </p:spPr>
        <p:txBody>
          <a:bodyPr>
            <a:normAutofit/>
          </a:bodyPr>
          <a:lstStyle/>
          <a:p>
            <a:pPr algn="ctr"/>
            <a:r>
              <a:rPr lang="en-US" sz="2800" b="1" i="1" dirty="0"/>
              <a:t>Making Healthcare Safer</a:t>
            </a:r>
            <a:endParaRPr lang="en-MK" sz="2800" b="1" i="1" dirty="0"/>
          </a:p>
        </p:txBody>
      </p:sp>
    </p:spTree>
    <p:extLst>
      <p:ext uri="{BB962C8B-B14F-4D97-AF65-F5344CB8AC3E}">
        <p14:creationId xmlns:p14="http://schemas.microsoft.com/office/powerpoint/2010/main" val="3579273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50" y="1219664"/>
            <a:ext cx="7478358" cy="333855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Asset manag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941168"/>
            <a:ext cx="10972800" cy="1916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31" y="5457997"/>
            <a:ext cx="10247238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/>
              <a:t>Associate assets to a contract to track and maintain warranty and maintenance contracts.</a:t>
            </a:r>
          </a:p>
          <a:p>
            <a:pPr algn="ctr"/>
            <a:r>
              <a:rPr lang="en-GB" sz="2160" dirty="0"/>
              <a:t> </a:t>
            </a:r>
          </a:p>
          <a:p>
            <a:pPr algn="ctr"/>
            <a:r>
              <a:rPr lang="en-GB" sz="2160" dirty="0"/>
              <a:t>Have the correct data to hand to quickly and easily inform suppliers of issues.</a:t>
            </a:r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Line Callout 1 10"/>
          <p:cNvSpPr/>
          <p:nvPr/>
        </p:nvSpPr>
        <p:spPr>
          <a:xfrm>
            <a:off x="8266780" y="1941225"/>
            <a:ext cx="3177080" cy="1055728"/>
          </a:xfrm>
          <a:prstGeom prst="borderCallout1">
            <a:avLst>
              <a:gd name="adj1" fmla="val 95982"/>
              <a:gd name="adj2" fmla="val 1650"/>
              <a:gd name="adj3" fmla="val 96400"/>
              <a:gd name="adj4" fmla="val -12176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Link assets to the relevant contracts for quick and easy lookup</a:t>
            </a:r>
          </a:p>
        </p:txBody>
      </p:sp>
      <p:sp>
        <p:nvSpPr>
          <p:cNvPr id="10" name="Line Callout 1 9"/>
          <p:cNvSpPr/>
          <p:nvPr/>
        </p:nvSpPr>
        <p:spPr>
          <a:xfrm>
            <a:off x="8266780" y="3645026"/>
            <a:ext cx="3177080" cy="808828"/>
          </a:xfrm>
          <a:prstGeom prst="borderCallout1">
            <a:avLst>
              <a:gd name="adj1" fmla="val 67719"/>
              <a:gd name="adj2" fmla="val -77"/>
              <a:gd name="adj3" fmla="val 69079"/>
              <a:gd name="adj4" fmla="val -13327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Keep track of the status of your assets </a:t>
            </a:r>
          </a:p>
        </p:txBody>
      </p:sp>
    </p:spTree>
    <p:extLst>
      <p:ext uri="{BB962C8B-B14F-4D97-AF65-F5344CB8AC3E}">
        <p14:creationId xmlns:p14="http://schemas.microsoft.com/office/powerpoint/2010/main" val="1454079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B8D461-B1D0-4F1D-BA46-FEBD687C53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4208" y="1708543"/>
            <a:ext cx="9089490" cy="302405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Build custom report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941168"/>
            <a:ext cx="10972800" cy="1916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31" y="5157191"/>
            <a:ext cx="102472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/>
              <a:t>intelligentcontract allows the creation of custom reports that can be built to meet your exact requirements and then shared with all your users. </a:t>
            </a:r>
            <a:br>
              <a:rPr lang="en-GB" sz="2160" dirty="0"/>
            </a:br>
            <a:br>
              <a:rPr lang="en-GB" sz="2160" dirty="0"/>
            </a:br>
            <a:r>
              <a:rPr lang="en-GB" sz="2160" dirty="0"/>
              <a:t>Once defined, reports can be run with different parameters and delivered in either a Microsoft Excel or PDF format.</a:t>
            </a:r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Line Callout 1 10"/>
          <p:cNvSpPr/>
          <p:nvPr/>
        </p:nvSpPr>
        <p:spPr>
          <a:xfrm>
            <a:off x="5948952" y="917960"/>
            <a:ext cx="4190866" cy="673469"/>
          </a:xfrm>
          <a:prstGeom prst="borderCallout1">
            <a:avLst>
              <a:gd name="adj1" fmla="val 92240"/>
              <a:gd name="adj2" fmla="val 38853"/>
              <a:gd name="adj3" fmla="val 99841"/>
              <a:gd name="adj4" fmla="val 38551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Preview your Report before creation</a:t>
            </a:r>
          </a:p>
        </p:txBody>
      </p:sp>
      <p:sp>
        <p:nvSpPr>
          <p:cNvPr id="9" name="Line Callout 1 8"/>
          <p:cNvSpPr/>
          <p:nvPr/>
        </p:nvSpPr>
        <p:spPr>
          <a:xfrm>
            <a:off x="1248686" y="919670"/>
            <a:ext cx="4190866" cy="673469"/>
          </a:xfrm>
          <a:prstGeom prst="borderCallout1">
            <a:avLst>
              <a:gd name="adj1" fmla="val 101006"/>
              <a:gd name="adj2" fmla="val 51437"/>
              <a:gd name="adj3" fmla="val 98920"/>
              <a:gd name="adj4" fmla="val 51863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Use the tools to Order, Rename, Filter and Sort your dat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ECFFCD-9AE5-4FDC-BABC-228EFD85B254}"/>
              </a:ext>
            </a:extLst>
          </p:cNvPr>
          <p:cNvCxnSpPr>
            <a:stCxn id="9" idx="1"/>
          </p:cNvCxnSpPr>
          <p:nvPr/>
        </p:nvCxnSpPr>
        <p:spPr>
          <a:xfrm flipH="1">
            <a:off x="3206217" y="1593140"/>
            <a:ext cx="137902" cy="127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55518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617" y="954150"/>
            <a:ext cx="5910310" cy="384300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Customise and personalize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797153"/>
            <a:ext cx="10972800" cy="206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7" y="4987043"/>
            <a:ext cx="1042005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/>
              <a:t>Custom fields can be added to capture data which is specific to your organisation. </a:t>
            </a:r>
          </a:p>
          <a:p>
            <a:pPr algn="ctr"/>
            <a:r>
              <a:rPr lang="en-GB" sz="2000" dirty="0"/>
              <a:t>Different custom fields can optionally be defined for each contract type. </a:t>
            </a:r>
            <a:br>
              <a:rPr lang="en-GB" sz="2000" dirty="0"/>
            </a:br>
            <a:r>
              <a:rPr lang="en-GB" sz="2000" dirty="0"/>
              <a:t>Existing and new custom fields can be placed exactly where required. </a:t>
            </a:r>
          </a:p>
          <a:p>
            <a:pPr algn="ctr"/>
            <a:r>
              <a:rPr lang="en-GB" sz="2000" dirty="0"/>
              <a:t>Existing fields can be removed, renamed or made mandatory. </a:t>
            </a:r>
          </a:p>
          <a:p>
            <a:pPr algn="ctr"/>
            <a:r>
              <a:rPr lang="en-GB" sz="2000" dirty="0"/>
              <a:t>The resulting solution will match your organisation's process and terminology exactly.</a:t>
            </a:r>
            <a:endParaRPr lang="en-GB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Line Callout 1 10"/>
          <p:cNvSpPr/>
          <p:nvPr/>
        </p:nvSpPr>
        <p:spPr>
          <a:xfrm>
            <a:off x="9293155" y="1700811"/>
            <a:ext cx="2160240" cy="855278"/>
          </a:xfrm>
          <a:prstGeom prst="borderCallout1">
            <a:avLst>
              <a:gd name="adj1" fmla="val 43004"/>
              <a:gd name="adj2" fmla="val 1734"/>
              <a:gd name="adj3" fmla="val 43666"/>
              <a:gd name="adj4" fmla="val -18862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Display only the fields you need</a:t>
            </a:r>
          </a:p>
        </p:txBody>
      </p:sp>
      <p:sp>
        <p:nvSpPr>
          <p:cNvPr id="9" name="Line Callout 1 8"/>
          <p:cNvSpPr/>
          <p:nvPr/>
        </p:nvSpPr>
        <p:spPr>
          <a:xfrm>
            <a:off x="744492" y="1435352"/>
            <a:ext cx="2327176" cy="985536"/>
          </a:xfrm>
          <a:prstGeom prst="borderCallout1">
            <a:avLst>
              <a:gd name="adj1" fmla="val 33706"/>
              <a:gd name="adj2" fmla="val 97827"/>
              <a:gd name="adj3" fmla="val 33637"/>
              <a:gd name="adj4" fmla="val 109052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Set layouts for each contract type</a:t>
            </a:r>
          </a:p>
        </p:txBody>
      </p:sp>
      <p:sp>
        <p:nvSpPr>
          <p:cNvPr id="10" name="Line Callout 1 9"/>
          <p:cNvSpPr/>
          <p:nvPr/>
        </p:nvSpPr>
        <p:spPr>
          <a:xfrm>
            <a:off x="744492" y="3212979"/>
            <a:ext cx="2327176" cy="1048727"/>
          </a:xfrm>
          <a:prstGeom prst="borderCallout1">
            <a:avLst>
              <a:gd name="adj1" fmla="val 31129"/>
              <a:gd name="adj2" fmla="val 97827"/>
              <a:gd name="adj3" fmla="val 30864"/>
              <a:gd name="adj4" fmla="val 111179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Drag-and-drop to create the layout you need</a:t>
            </a:r>
          </a:p>
        </p:txBody>
      </p:sp>
    </p:spTree>
    <p:extLst>
      <p:ext uri="{BB962C8B-B14F-4D97-AF65-F5344CB8AC3E}">
        <p14:creationId xmlns:p14="http://schemas.microsoft.com/office/powerpoint/2010/main" val="955869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642" y="2204864"/>
            <a:ext cx="4304404" cy="259228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804" y="908722"/>
            <a:ext cx="4467377" cy="232202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Security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797153"/>
            <a:ext cx="10972800" cy="206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7" y="4987043"/>
            <a:ext cx="104200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/>
              <a:t>A fully flexible security model is available with intelligentcontract. </a:t>
            </a:r>
          </a:p>
          <a:p>
            <a:pPr algn="ctr"/>
            <a:br>
              <a:rPr lang="en-GB" sz="2000" dirty="0"/>
            </a:br>
            <a:r>
              <a:rPr lang="en-GB" sz="2000" dirty="0"/>
              <a:t>Only users who are part of the correct security group can view </a:t>
            </a:r>
          </a:p>
          <a:p>
            <a:pPr algn="ctr"/>
            <a:r>
              <a:rPr lang="en-GB" sz="2000" dirty="0"/>
              <a:t>contracts assigned to that group.</a:t>
            </a:r>
          </a:p>
          <a:p>
            <a:pPr algn="ctr"/>
            <a:b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ad-only users can optionally be set up</a:t>
            </a:r>
          </a:p>
        </p:txBody>
      </p:sp>
      <p:sp>
        <p:nvSpPr>
          <p:cNvPr id="11" name="Line Callout 1 10"/>
          <p:cNvSpPr/>
          <p:nvPr/>
        </p:nvSpPr>
        <p:spPr>
          <a:xfrm>
            <a:off x="7046506" y="1092779"/>
            <a:ext cx="2937926" cy="1112087"/>
          </a:xfrm>
          <a:prstGeom prst="borderCallout1">
            <a:avLst>
              <a:gd name="adj1" fmla="val 86538"/>
              <a:gd name="adj2" fmla="val 734"/>
              <a:gd name="adj3" fmla="val 86633"/>
              <a:gd name="adj4" fmla="val -51768"/>
            </a:avLst>
          </a:prstGeom>
          <a:solidFill>
            <a:srgbClr val="664455"/>
          </a:solidFill>
          <a:ln w="25400"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Only users with the correct security can gain access to the contract</a:t>
            </a:r>
          </a:p>
        </p:txBody>
      </p:sp>
      <p:sp>
        <p:nvSpPr>
          <p:cNvPr id="9" name="Line Callout 1 8"/>
          <p:cNvSpPr/>
          <p:nvPr/>
        </p:nvSpPr>
        <p:spPr>
          <a:xfrm>
            <a:off x="3071664" y="3429000"/>
            <a:ext cx="2592288" cy="985536"/>
          </a:xfrm>
          <a:prstGeom prst="borderCallout1">
            <a:avLst>
              <a:gd name="adj1" fmla="val 45254"/>
              <a:gd name="adj2" fmla="val 94653"/>
              <a:gd name="adj3" fmla="val 45209"/>
              <a:gd name="adj4" fmla="val 147124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Set up simple or complex rules</a:t>
            </a:r>
          </a:p>
        </p:txBody>
      </p:sp>
      <p:sp>
        <p:nvSpPr>
          <p:cNvPr id="20" name="Line Callout 1 19"/>
          <p:cNvSpPr/>
          <p:nvPr/>
        </p:nvSpPr>
        <p:spPr>
          <a:xfrm flipV="1">
            <a:off x="7081628" y="2096851"/>
            <a:ext cx="259229" cy="72008"/>
          </a:xfrm>
          <a:prstGeom prst="borderCallout1">
            <a:avLst>
              <a:gd name="adj1" fmla="val -63704"/>
              <a:gd name="adj2" fmla="val 47668"/>
              <a:gd name="adj3" fmla="val -1195028"/>
              <a:gd name="adj4" fmla="val 48975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</p:spTree>
    <p:extLst>
      <p:ext uri="{BB962C8B-B14F-4D97-AF65-F5344CB8AC3E}">
        <p14:creationId xmlns:p14="http://schemas.microsoft.com/office/powerpoint/2010/main" val="9636796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7453" y="908720"/>
            <a:ext cx="5002112" cy="382999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Import your existing record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797153"/>
            <a:ext cx="10972800" cy="206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7" y="5445223"/>
            <a:ext cx="10420058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/>
              <a:t>intelligentcontract provides tools to import contracts, documents, people </a:t>
            </a:r>
          </a:p>
          <a:p>
            <a:pPr algn="ctr"/>
            <a:r>
              <a:rPr lang="en-GB" sz="2160" dirty="0"/>
              <a:t>or companies from a spreadsheet.</a:t>
            </a:r>
            <a:br>
              <a:rPr lang="en-GB" sz="2160" dirty="0"/>
            </a:br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Line Callout 1 8"/>
          <p:cNvSpPr/>
          <p:nvPr/>
        </p:nvSpPr>
        <p:spPr>
          <a:xfrm>
            <a:off x="825018" y="1700811"/>
            <a:ext cx="3024337" cy="1293028"/>
          </a:xfrm>
          <a:prstGeom prst="borderCallout1">
            <a:avLst>
              <a:gd name="adj1" fmla="val 68634"/>
              <a:gd name="adj2" fmla="val 99115"/>
              <a:gd name="adj3" fmla="val 68505"/>
              <a:gd name="adj4" fmla="val 119017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Map excel columns to fields to import your data easily</a:t>
            </a:r>
          </a:p>
        </p:txBody>
      </p:sp>
    </p:spTree>
    <p:extLst>
      <p:ext uri="{BB962C8B-B14F-4D97-AF65-F5344CB8AC3E}">
        <p14:creationId xmlns:p14="http://schemas.microsoft.com/office/powerpoint/2010/main" val="32008956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632" y="1711378"/>
            <a:ext cx="8510736" cy="222167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Audit log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797153"/>
            <a:ext cx="10972800" cy="206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7" y="5085184"/>
            <a:ext cx="1042005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/>
              <a:t>intelligentcontract.com provides an audit trail of each change made to your data. Nothing can be added, deleted or edited without the system recording the change. </a:t>
            </a:r>
            <a:br>
              <a:rPr lang="en-GB" sz="2160" dirty="0"/>
            </a:br>
            <a:br>
              <a:rPr lang="en-GB" sz="2160" dirty="0"/>
            </a:br>
            <a:r>
              <a:rPr lang="en-GB" sz="2160" dirty="0"/>
              <a:t>Audit records can be reviewed to see who made the changes, when they were made and the specific nature of the change.</a:t>
            </a:r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Line Callout 1 8"/>
          <p:cNvSpPr/>
          <p:nvPr/>
        </p:nvSpPr>
        <p:spPr>
          <a:xfrm>
            <a:off x="1840635" y="980728"/>
            <a:ext cx="4990057" cy="646514"/>
          </a:xfrm>
          <a:prstGeom prst="borderCallout1">
            <a:avLst>
              <a:gd name="adj1" fmla="val 89132"/>
              <a:gd name="adj2" fmla="val 57716"/>
              <a:gd name="adj3" fmla="val 227081"/>
              <a:gd name="adj4" fmla="val 57833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See which users are updating records…</a:t>
            </a:r>
          </a:p>
        </p:txBody>
      </p:sp>
      <p:sp>
        <p:nvSpPr>
          <p:cNvPr id="10" name="Line Callout 1 9"/>
          <p:cNvSpPr/>
          <p:nvPr/>
        </p:nvSpPr>
        <p:spPr>
          <a:xfrm>
            <a:off x="6096000" y="4149082"/>
            <a:ext cx="4147661" cy="504056"/>
          </a:xfrm>
          <a:prstGeom prst="borderCallout1">
            <a:avLst>
              <a:gd name="adj1" fmla="val 5506"/>
              <a:gd name="adj2" fmla="val 85591"/>
              <a:gd name="adj3" fmla="val -45000"/>
              <a:gd name="adj4" fmla="val 85294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…and what has been changed</a:t>
            </a:r>
          </a:p>
        </p:txBody>
      </p:sp>
    </p:spTree>
    <p:extLst>
      <p:ext uri="{BB962C8B-B14F-4D97-AF65-F5344CB8AC3E}">
        <p14:creationId xmlns:p14="http://schemas.microsoft.com/office/powerpoint/2010/main" val="30125576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7D9BCB-2835-454A-9798-1313112B28F0}"/>
              </a:ext>
            </a:extLst>
          </p:cNvPr>
          <p:cNvSpPr/>
          <p:nvPr/>
        </p:nvSpPr>
        <p:spPr>
          <a:xfrm>
            <a:off x="474706" y="165006"/>
            <a:ext cx="10720453" cy="574453"/>
          </a:xfrm>
          <a:prstGeom prst="rect">
            <a:avLst/>
          </a:prstGeom>
        </p:spPr>
        <p:txBody>
          <a:bodyPr vert="horz" wrap="square" lIns="121920" tIns="60960" rIns="121920" bIns="6096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33" b="1" i="0" u="none" strike="noStrike" kern="1200" cap="none" spc="147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 Heavy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713EF-E2B3-DAE0-F696-6C4C553109AC}"/>
              </a:ext>
            </a:extLst>
          </p:cNvPr>
          <p:cNvSpPr txBox="1"/>
          <p:nvPr/>
        </p:nvSpPr>
        <p:spPr>
          <a:xfrm>
            <a:off x="735774" y="1242938"/>
            <a:ext cx="10720453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 methodology and processes are based on years of experience, successful customer deployments</a:t>
            </a:r>
          </a:p>
          <a:p>
            <a:pPr marL="380990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th and breadth of team experience implementing CLM systems</a:t>
            </a:r>
          </a:p>
          <a:p>
            <a:pPr marL="380990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ed Outcomes</a:t>
            </a: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in visibility to existing contracts</a:t>
            </a: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e contract cycle time</a:t>
            </a: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hieve compliance with contract obligations </a:t>
            </a:r>
          </a:p>
          <a:p>
            <a:pPr marL="380990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Intelligentcontrac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guration based on best practice contract management disciplines</a:t>
            </a: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id time to value</a:t>
            </a: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al adoption </a:t>
            </a: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tainable self-mainten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DD68C0-60E6-4D37-BBDE-DB5F893AD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856" y="327661"/>
            <a:ext cx="10918371" cy="823595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bg1">
                    <a:lumMod val="10000"/>
                  </a:schemeClr>
                </a:solidFill>
                <a:latin typeface="Calibri" panose="020F0502020204030204"/>
              </a:rPr>
              <a:t>Best Practice Methodology - </a:t>
            </a:r>
            <a:r>
              <a:rPr lang="en-US" sz="4000" dirty="0">
                <a:solidFill>
                  <a:schemeClr val="bg1">
                    <a:lumMod val="10000"/>
                  </a:schemeClr>
                </a:solidFill>
                <a:latin typeface="Calibri" panose="020F0502020204030204"/>
              </a:rPr>
              <a:t>intelligentcontract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109628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7740B5-4AA8-457E-B84C-B3A292506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r>
              <a:rPr lang="en-US" sz="2400" dirty="0">
                <a:solidFill>
                  <a:srgbClr val="FFFFFF">
                    <a:alpha val="0"/>
                  </a:srgbClr>
                </a:solidFill>
                <a:latin typeface="Arial" panose="020B0604020202020204"/>
              </a:rPr>
              <a:t>_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0D7EAE0-559A-4F17-8562-DE9371890E22}"/>
              </a:ext>
            </a:extLst>
          </p:cNvPr>
          <p:cNvGrpSpPr/>
          <p:nvPr/>
        </p:nvGrpSpPr>
        <p:grpSpPr>
          <a:xfrm>
            <a:off x="395822" y="1325366"/>
            <a:ext cx="11400356" cy="4606709"/>
            <a:chOff x="296865" y="1462530"/>
            <a:chExt cx="8550267" cy="320936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12734F1-82EC-40B4-B89E-B6EAB25B866E}"/>
                </a:ext>
              </a:extLst>
            </p:cNvPr>
            <p:cNvSpPr/>
            <p:nvPr/>
          </p:nvSpPr>
          <p:spPr>
            <a:xfrm>
              <a:off x="296865" y="1462530"/>
              <a:ext cx="2606788" cy="1001660"/>
            </a:xfrm>
            <a:custGeom>
              <a:avLst/>
              <a:gdLst>
                <a:gd name="connsiteX0" fmla="*/ 0 w 2606788"/>
                <a:gd name="connsiteY0" fmla="*/ 0 h 1001660"/>
                <a:gd name="connsiteX1" fmla="*/ 2606788 w 2606788"/>
                <a:gd name="connsiteY1" fmla="*/ 0 h 1001660"/>
                <a:gd name="connsiteX2" fmla="*/ 2606788 w 2606788"/>
                <a:gd name="connsiteY2" fmla="*/ 1001660 h 1001660"/>
                <a:gd name="connsiteX3" fmla="*/ 0 w 2606788"/>
                <a:gd name="connsiteY3" fmla="*/ 1001660 h 1001660"/>
                <a:gd name="connsiteX4" fmla="*/ 0 w 2606788"/>
                <a:gd name="connsiteY4" fmla="*/ 0 h 100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6788" h="1001660">
                  <a:moveTo>
                    <a:pt x="0" y="0"/>
                  </a:moveTo>
                  <a:lnTo>
                    <a:pt x="2606788" y="0"/>
                  </a:lnTo>
                  <a:lnTo>
                    <a:pt x="2606788" y="1001660"/>
                  </a:lnTo>
                  <a:lnTo>
                    <a:pt x="0" y="1001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9136" tIns="113792" rIns="199136" bIns="113792" numCol="1" spcCol="1270" anchor="ctr" anchorCtr="0">
              <a:noAutofit/>
            </a:bodyPr>
            <a:lstStyle/>
            <a:p>
              <a:pPr algn="ctr" defTabSz="12445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b="1" dirty="0">
                  <a:solidFill>
                    <a:srgbClr val="FFFFFF"/>
                  </a:solidFill>
                  <a:latin typeface="Arial" panose="020B0604020202020204"/>
                </a:rPr>
                <a:t>Contract Lifecycle Management</a:t>
              </a:r>
              <a:endParaRPr lang="en-US" sz="280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F6D755D-317C-4CBE-8779-465F29B8AC99}"/>
                </a:ext>
              </a:extLst>
            </p:cNvPr>
            <p:cNvSpPr/>
            <p:nvPr/>
          </p:nvSpPr>
          <p:spPr>
            <a:xfrm>
              <a:off x="296865" y="2464190"/>
              <a:ext cx="2606788" cy="2207701"/>
            </a:xfrm>
            <a:custGeom>
              <a:avLst/>
              <a:gdLst>
                <a:gd name="connsiteX0" fmla="*/ 0 w 2606788"/>
                <a:gd name="connsiteY0" fmla="*/ 0 h 2075220"/>
                <a:gd name="connsiteX1" fmla="*/ 2606788 w 2606788"/>
                <a:gd name="connsiteY1" fmla="*/ 0 h 2075220"/>
                <a:gd name="connsiteX2" fmla="*/ 2606788 w 2606788"/>
                <a:gd name="connsiteY2" fmla="*/ 2075220 h 2075220"/>
                <a:gd name="connsiteX3" fmla="*/ 0 w 2606788"/>
                <a:gd name="connsiteY3" fmla="*/ 2075220 h 2075220"/>
                <a:gd name="connsiteX4" fmla="*/ 0 w 2606788"/>
                <a:gd name="connsiteY4" fmla="*/ 0 h 207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6788" h="2075220">
                  <a:moveTo>
                    <a:pt x="0" y="0"/>
                  </a:moveTo>
                  <a:lnTo>
                    <a:pt x="2606788" y="0"/>
                  </a:lnTo>
                  <a:lnTo>
                    <a:pt x="2606788" y="2075220"/>
                  </a:lnTo>
                  <a:lnTo>
                    <a:pt x="0" y="20752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0000"/>
                <a:alpha val="90000"/>
              </a:schemeClr>
            </a:solidFill>
          </p:spPr>
          <p:style>
            <a:lnRef idx="2">
              <a:schemeClr val="accent2">
                <a:tint val="40000"/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2456" tIns="92456" rIns="123275" bIns="138684" numCol="1" spcCol="1270" anchor="t" anchorCtr="0">
              <a:noAutofit/>
            </a:bodyPr>
            <a:lstStyle/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Advanced, Google-like Search &amp; Filtering</a:t>
              </a:r>
              <a:endParaRPr lang="en-US" sz="1733" dirty="0">
                <a:solidFill>
                  <a:srgbClr val="58595B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/>
              </a:endParaRP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Configurability, Visibility &amp; Security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Automated Workflow to review/approve/update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Reporting/Analytics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Contract Creation, On-line Redlining &amp; Document Coediting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Contract Reminders/Alerts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0B35935-3EDB-454F-A397-8A58731954FC}"/>
                </a:ext>
              </a:extLst>
            </p:cNvPr>
            <p:cNvSpPr/>
            <p:nvPr/>
          </p:nvSpPr>
          <p:spPr>
            <a:xfrm>
              <a:off x="3268606" y="1462530"/>
              <a:ext cx="2606788" cy="1001660"/>
            </a:xfrm>
            <a:custGeom>
              <a:avLst/>
              <a:gdLst>
                <a:gd name="connsiteX0" fmla="*/ 0 w 2606788"/>
                <a:gd name="connsiteY0" fmla="*/ 0 h 1001660"/>
                <a:gd name="connsiteX1" fmla="*/ 2606788 w 2606788"/>
                <a:gd name="connsiteY1" fmla="*/ 0 h 1001660"/>
                <a:gd name="connsiteX2" fmla="*/ 2606788 w 2606788"/>
                <a:gd name="connsiteY2" fmla="*/ 1001660 h 1001660"/>
                <a:gd name="connsiteX3" fmla="*/ 0 w 2606788"/>
                <a:gd name="connsiteY3" fmla="*/ 1001660 h 1001660"/>
                <a:gd name="connsiteX4" fmla="*/ 0 w 2606788"/>
                <a:gd name="connsiteY4" fmla="*/ 0 h 100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6788" h="1001660">
                  <a:moveTo>
                    <a:pt x="0" y="0"/>
                  </a:moveTo>
                  <a:lnTo>
                    <a:pt x="2606788" y="0"/>
                  </a:lnTo>
                  <a:lnTo>
                    <a:pt x="2606788" y="1001660"/>
                  </a:lnTo>
                  <a:lnTo>
                    <a:pt x="0" y="1001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9136" tIns="113792" rIns="199136" bIns="113792" numCol="1" spcCol="1270" anchor="ctr" anchorCtr="0">
              <a:noAutofit/>
            </a:bodyPr>
            <a:lstStyle/>
            <a:p>
              <a:pPr algn="ctr" defTabSz="12445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b="1" dirty="0">
                  <a:solidFill>
                    <a:srgbClr val="FFFFFF"/>
                  </a:solidFill>
                  <a:latin typeface="Arial" panose="020B0604020202020204"/>
                </a:rPr>
                <a:t>Implementation </a:t>
              </a:r>
              <a:br>
                <a:rPr lang="en-US" sz="2800" b="1" dirty="0">
                  <a:solidFill>
                    <a:srgbClr val="FFFFFF"/>
                  </a:solidFill>
                  <a:latin typeface="Arial" panose="020B0604020202020204"/>
                </a:rPr>
              </a:br>
              <a:r>
                <a:rPr lang="en-US" sz="2800" b="1" dirty="0">
                  <a:solidFill>
                    <a:srgbClr val="FFFFFF"/>
                  </a:solidFill>
                  <a:latin typeface="Arial" panose="020B0604020202020204"/>
                </a:rPr>
                <a:t>&amp; Support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6AE8455-A6B8-4682-98C0-B403495AD57D}"/>
                </a:ext>
              </a:extLst>
            </p:cNvPr>
            <p:cNvSpPr/>
            <p:nvPr/>
          </p:nvSpPr>
          <p:spPr>
            <a:xfrm>
              <a:off x="3268606" y="2464190"/>
              <a:ext cx="2606788" cy="2207702"/>
            </a:xfrm>
            <a:custGeom>
              <a:avLst/>
              <a:gdLst>
                <a:gd name="connsiteX0" fmla="*/ 0 w 2606788"/>
                <a:gd name="connsiteY0" fmla="*/ 0 h 2075220"/>
                <a:gd name="connsiteX1" fmla="*/ 2606788 w 2606788"/>
                <a:gd name="connsiteY1" fmla="*/ 0 h 2075220"/>
                <a:gd name="connsiteX2" fmla="*/ 2606788 w 2606788"/>
                <a:gd name="connsiteY2" fmla="*/ 2075220 h 2075220"/>
                <a:gd name="connsiteX3" fmla="*/ 0 w 2606788"/>
                <a:gd name="connsiteY3" fmla="*/ 2075220 h 2075220"/>
                <a:gd name="connsiteX4" fmla="*/ 0 w 2606788"/>
                <a:gd name="connsiteY4" fmla="*/ 0 h 207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6788" h="2075220">
                  <a:moveTo>
                    <a:pt x="0" y="0"/>
                  </a:moveTo>
                  <a:lnTo>
                    <a:pt x="2606788" y="0"/>
                  </a:lnTo>
                  <a:lnTo>
                    <a:pt x="2606788" y="2075220"/>
                  </a:lnTo>
                  <a:lnTo>
                    <a:pt x="0" y="20752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90000"/>
              </a:schemeClr>
            </a:solidFill>
          </p:spPr>
          <p:style>
            <a:lnRef idx="2">
              <a:schemeClr val="accent3">
                <a:tint val="40000"/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40000"/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2456" tIns="92456" rIns="123275" bIns="138684" numCol="1" spcCol="1270" anchor="t" anchorCtr="0">
              <a:noAutofit/>
            </a:bodyPr>
            <a:lstStyle/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Dedicated Team to Ensure S</a:t>
              </a:r>
              <a:r>
                <a:rPr lang="en-US" altLang="en-US" sz="1733" dirty="0" err="1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uccess</a:t>
              </a: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 (Healthcare Focus)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Software Best Practices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Guided Implementation &amp; Training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Mass Document/Data Import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Chat, Email, Ticketing &amp; support site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Cloud Hosted with Ongoing Updates &amp; Enhancements 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Quarterly Update Webinars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73BFF7B-F990-496D-B0BE-91D31E56D5FB}"/>
                </a:ext>
              </a:extLst>
            </p:cNvPr>
            <p:cNvSpPr/>
            <p:nvPr/>
          </p:nvSpPr>
          <p:spPr>
            <a:xfrm>
              <a:off x="6240344" y="1462530"/>
              <a:ext cx="2606788" cy="1001660"/>
            </a:xfrm>
            <a:custGeom>
              <a:avLst/>
              <a:gdLst>
                <a:gd name="connsiteX0" fmla="*/ 0 w 2606788"/>
                <a:gd name="connsiteY0" fmla="*/ 0 h 1001660"/>
                <a:gd name="connsiteX1" fmla="*/ 2606788 w 2606788"/>
                <a:gd name="connsiteY1" fmla="*/ 0 h 1001660"/>
                <a:gd name="connsiteX2" fmla="*/ 2606788 w 2606788"/>
                <a:gd name="connsiteY2" fmla="*/ 1001660 h 1001660"/>
                <a:gd name="connsiteX3" fmla="*/ 0 w 2606788"/>
                <a:gd name="connsiteY3" fmla="*/ 1001660 h 1001660"/>
                <a:gd name="connsiteX4" fmla="*/ 0 w 2606788"/>
                <a:gd name="connsiteY4" fmla="*/ 0 h 100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6788" h="1001660">
                  <a:moveTo>
                    <a:pt x="0" y="0"/>
                  </a:moveTo>
                  <a:lnTo>
                    <a:pt x="2606788" y="0"/>
                  </a:lnTo>
                  <a:lnTo>
                    <a:pt x="2606788" y="1001660"/>
                  </a:lnTo>
                  <a:lnTo>
                    <a:pt x="0" y="1001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9136" tIns="113792" rIns="199136" bIns="113792" numCol="1" spcCol="1270" anchor="ctr" anchorCtr="0">
              <a:noAutofit/>
            </a:bodyPr>
            <a:lstStyle/>
            <a:p>
              <a:pPr algn="ctr" defTabSz="12445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b="1" dirty="0">
                  <a:solidFill>
                    <a:srgbClr val="FFFFFF"/>
                  </a:solidFill>
                  <a:latin typeface="Arial" panose="020B0604020202020204"/>
                </a:rPr>
                <a:t>Integrations</a:t>
              </a:r>
              <a:endParaRPr lang="en-US" sz="280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60311C5-E1AA-49D6-A2E4-87E30748EF51}"/>
                </a:ext>
              </a:extLst>
            </p:cNvPr>
            <p:cNvSpPr/>
            <p:nvPr/>
          </p:nvSpPr>
          <p:spPr>
            <a:xfrm>
              <a:off x="6240344" y="2464190"/>
              <a:ext cx="2606788" cy="2207702"/>
            </a:xfrm>
            <a:custGeom>
              <a:avLst/>
              <a:gdLst>
                <a:gd name="connsiteX0" fmla="*/ 0 w 2606788"/>
                <a:gd name="connsiteY0" fmla="*/ 0 h 2075220"/>
                <a:gd name="connsiteX1" fmla="*/ 2606788 w 2606788"/>
                <a:gd name="connsiteY1" fmla="*/ 0 h 2075220"/>
                <a:gd name="connsiteX2" fmla="*/ 2606788 w 2606788"/>
                <a:gd name="connsiteY2" fmla="*/ 2075220 h 2075220"/>
                <a:gd name="connsiteX3" fmla="*/ 0 w 2606788"/>
                <a:gd name="connsiteY3" fmla="*/ 2075220 h 2075220"/>
                <a:gd name="connsiteX4" fmla="*/ 0 w 2606788"/>
                <a:gd name="connsiteY4" fmla="*/ 0 h 207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6788" h="2075220">
                  <a:moveTo>
                    <a:pt x="0" y="0"/>
                  </a:moveTo>
                  <a:lnTo>
                    <a:pt x="2606788" y="0"/>
                  </a:lnTo>
                  <a:lnTo>
                    <a:pt x="2606788" y="2075220"/>
                  </a:lnTo>
                  <a:lnTo>
                    <a:pt x="0" y="20752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  <a:alpha val="90000"/>
              </a:schemeClr>
            </a:solidFill>
          </p:spPr>
          <p:style>
            <a:lnRef idx="2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2456" tIns="92456" rIns="123275" bIns="138684" numCol="1" spcCol="1270" anchor="t" anchorCtr="0">
              <a:noAutofit/>
            </a:bodyPr>
            <a:lstStyle/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eSignature via DocuSign or Adobe Sign &amp; EverSign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alt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Single Sign on via SAML 2.0, O365/Azure, Google login &amp; OneLogin</a:t>
              </a:r>
              <a:endParaRPr lang="en-US" sz="1733" dirty="0">
                <a:solidFill>
                  <a:srgbClr val="58595B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/>
              </a:endParaRP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Share data with 3</a:t>
              </a:r>
              <a:r>
                <a:rPr lang="en-US" sz="1733" baseline="30000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rd</a:t>
              </a:r>
              <a:r>
                <a:rPr 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 Party Finance, ERP,  &amp; CRM Systems</a:t>
              </a:r>
            </a:p>
            <a:p>
              <a:pPr marL="152396" lvl="1" indent="-152396" defTabSz="77044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733" dirty="0">
                  <a:solidFill>
                    <a:srgbClr val="58595B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/>
                </a:rPr>
                <a:t>Hyperlink Contracts to Policies &amp; Procedures</a:t>
              </a:r>
            </a:p>
          </p:txBody>
        </p:sp>
      </p:grpSp>
      <p:sp>
        <p:nvSpPr>
          <p:cNvPr id="13" name="Title 2">
            <a:extLst>
              <a:ext uri="{FF2B5EF4-FFF2-40B4-BE49-F238E27FC236}">
                <a16:creationId xmlns:a16="http://schemas.microsoft.com/office/drawing/2014/main" id="{1C368456-726A-4748-9762-BCBC7628A1E8}"/>
              </a:ext>
            </a:extLst>
          </p:cNvPr>
          <p:cNvSpPr txBox="1">
            <a:spLocks/>
          </p:cNvSpPr>
          <p:nvPr/>
        </p:nvSpPr>
        <p:spPr>
          <a:xfrm>
            <a:off x="552256" y="219327"/>
            <a:ext cx="10918371" cy="82359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706F6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4000" dirty="0">
                <a:solidFill>
                  <a:schemeClr val="bg1">
                    <a:lumMod val="10000"/>
                  </a:schemeClr>
                </a:solidFill>
                <a:latin typeface="Calibri" panose="020F0502020204030204"/>
              </a:rPr>
              <a:t>The intelligentcontract Platform at a Glanc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340092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Login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941168"/>
            <a:ext cx="10972800" cy="1916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6" name="TextBox 5"/>
          <p:cNvSpPr txBox="1"/>
          <p:nvPr/>
        </p:nvSpPr>
        <p:spPr>
          <a:xfrm>
            <a:off x="997834" y="5157195"/>
            <a:ext cx="10369152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g in to intelligentcontract using any device with an internet connection</a:t>
            </a:r>
          </a:p>
          <a:p>
            <a:pPr algn="ctr"/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ant your own login portal? We can offer you a custom portal using your own brand </a:t>
            </a:r>
            <a:r>
              <a:rPr lang="en-US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lors</a:t>
            </a:r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and logo.</a:t>
            </a:r>
          </a:p>
        </p:txBody>
      </p:sp>
      <p:pic>
        <p:nvPicPr>
          <p:cNvPr id="8" name="Picture 7" descr="Screen Clippi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7302" y="1364028"/>
            <a:ext cx="4817957" cy="304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572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982" y="1628205"/>
            <a:ext cx="5878037" cy="373628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Everything in one place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5517232"/>
            <a:ext cx="10972800" cy="13407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8" y="5850558"/>
            <a:ext cx="1002351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/>
              <a:t>Everything you need in a central repository. Find your contract information in a flash and keep on top of your costs. </a:t>
            </a:r>
          </a:p>
        </p:txBody>
      </p:sp>
      <p:sp>
        <p:nvSpPr>
          <p:cNvPr id="15" name="Line Callout 1 14"/>
          <p:cNvSpPr/>
          <p:nvPr/>
        </p:nvSpPr>
        <p:spPr>
          <a:xfrm>
            <a:off x="7305734" y="997880"/>
            <a:ext cx="1814602" cy="486905"/>
          </a:xfrm>
          <a:prstGeom prst="borderCallout1">
            <a:avLst>
              <a:gd name="adj1" fmla="val 98964"/>
              <a:gd name="adj2" fmla="val 49987"/>
              <a:gd name="adj3" fmla="val 317772"/>
              <a:gd name="adj4" fmla="val 51122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Filter Quickly</a:t>
            </a:r>
          </a:p>
        </p:txBody>
      </p:sp>
      <p:sp>
        <p:nvSpPr>
          <p:cNvPr id="16" name="Line Callout 1 15"/>
          <p:cNvSpPr/>
          <p:nvPr/>
        </p:nvSpPr>
        <p:spPr>
          <a:xfrm>
            <a:off x="1459528" y="4365104"/>
            <a:ext cx="1525727" cy="648072"/>
          </a:xfrm>
          <a:prstGeom prst="borderCallout1">
            <a:avLst>
              <a:gd name="adj1" fmla="val 48260"/>
              <a:gd name="adj2" fmla="val 99202"/>
              <a:gd name="adj3" fmla="val 48474"/>
              <a:gd name="adj4" fmla="val 115061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Archive Records</a:t>
            </a:r>
          </a:p>
        </p:txBody>
      </p:sp>
      <p:sp>
        <p:nvSpPr>
          <p:cNvPr id="17" name="Line Callout 1 16"/>
          <p:cNvSpPr/>
          <p:nvPr/>
        </p:nvSpPr>
        <p:spPr>
          <a:xfrm>
            <a:off x="9206745" y="2060850"/>
            <a:ext cx="1814602" cy="535596"/>
          </a:xfrm>
          <a:prstGeom prst="borderCallout1">
            <a:avLst>
              <a:gd name="adj1" fmla="val 49941"/>
              <a:gd name="adj2" fmla="val 116"/>
              <a:gd name="adj3" fmla="val 50467"/>
              <a:gd name="adj4" fmla="val -11566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Export Easily</a:t>
            </a:r>
          </a:p>
        </p:txBody>
      </p:sp>
      <p:sp>
        <p:nvSpPr>
          <p:cNvPr id="11" name="Line Callout 1 10"/>
          <p:cNvSpPr/>
          <p:nvPr/>
        </p:nvSpPr>
        <p:spPr>
          <a:xfrm>
            <a:off x="3590123" y="997880"/>
            <a:ext cx="3332978" cy="486905"/>
          </a:xfrm>
          <a:prstGeom prst="borderCallout1">
            <a:avLst>
              <a:gd name="adj1" fmla="val 99460"/>
              <a:gd name="adj2" fmla="val 50621"/>
              <a:gd name="adj3" fmla="val 267763"/>
              <a:gd name="adj4" fmla="val 50459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elect a Pre-Defined View</a:t>
            </a:r>
          </a:p>
        </p:txBody>
      </p:sp>
      <p:sp>
        <p:nvSpPr>
          <p:cNvPr id="12" name="Line Callout 1 11"/>
          <p:cNvSpPr/>
          <p:nvPr/>
        </p:nvSpPr>
        <p:spPr>
          <a:xfrm>
            <a:off x="1299329" y="1649035"/>
            <a:ext cx="1685926" cy="648072"/>
          </a:xfrm>
          <a:prstGeom prst="borderCallout1">
            <a:avLst>
              <a:gd name="adj1" fmla="val 48995"/>
              <a:gd name="adj2" fmla="val 99202"/>
              <a:gd name="adj3" fmla="val 49209"/>
              <a:gd name="adj4" fmla="val 113801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Powerful</a:t>
            </a:r>
          </a:p>
          <a:p>
            <a:pPr algn="ctr"/>
            <a:r>
              <a:rPr lang="en-GB" sz="2160" dirty="0"/>
              <a:t>Search Tool</a:t>
            </a:r>
          </a:p>
        </p:txBody>
      </p:sp>
    </p:spTree>
    <p:extLst>
      <p:ext uri="{BB962C8B-B14F-4D97-AF65-F5344CB8AC3E}">
        <p14:creationId xmlns:p14="http://schemas.microsoft.com/office/powerpoint/2010/main" val="40142143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5891" y="1303021"/>
            <a:ext cx="6008690" cy="30620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44" y="2204853"/>
            <a:ext cx="3864516" cy="223226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Add Documents and Alert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5085184"/>
            <a:ext cx="10972800" cy="17728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8" y="5264041"/>
            <a:ext cx="1002351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d one time or recurring Alerts to your contracts. </a:t>
            </a:r>
          </a:p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ever get caught with roll-overs again.</a:t>
            </a:r>
          </a:p>
          <a:p>
            <a:pPr algn="ctr"/>
            <a:endParaRPr lang="en-GB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d contract paperwork and have all your paperwork in one accessible place. </a:t>
            </a:r>
          </a:p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ind that document fast!</a:t>
            </a:r>
          </a:p>
        </p:txBody>
      </p:sp>
      <p:sp>
        <p:nvSpPr>
          <p:cNvPr id="9" name="Line Callout 1 8"/>
          <p:cNvSpPr/>
          <p:nvPr/>
        </p:nvSpPr>
        <p:spPr>
          <a:xfrm>
            <a:off x="1084244" y="1303022"/>
            <a:ext cx="3864516" cy="757828"/>
          </a:xfrm>
          <a:prstGeom prst="borderCallout1">
            <a:avLst>
              <a:gd name="adj1" fmla="val 99562"/>
              <a:gd name="adj2" fmla="val 34812"/>
              <a:gd name="adj3" fmla="val 375943"/>
              <a:gd name="adj4" fmla="val 34291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Add Alerts to contracts and link the relevant people</a:t>
            </a:r>
          </a:p>
        </p:txBody>
      </p:sp>
      <p:sp>
        <p:nvSpPr>
          <p:cNvPr id="17" name="Line Callout 1 16"/>
          <p:cNvSpPr/>
          <p:nvPr/>
        </p:nvSpPr>
        <p:spPr>
          <a:xfrm>
            <a:off x="5318315" y="3351433"/>
            <a:ext cx="3024336" cy="1013672"/>
          </a:xfrm>
          <a:prstGeom prst="borderCallout1">
            <a:avLst>
              <a:gd name="adj1" fmla="val 3498"/>
              <a:gd name="adj2" fmla="val 55453"/>
              <a:gd name="adj3" fmla="val -94658"/>
              <a:gd name="adj4" fmla="val 54605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Add contract documents to your record</a:t>
            </a:r>
          </a:p>
        </p:txBody>
      </p:sp>
    </p:spTree>
    <p:extLst>
      <p:ext uri="{BB962C8B-B14F-4D97-AF65-F5344CB8AC3E}">
        <p14:creationId xmlns:p14="http://schemas.microsoft.com/office/powerpoint/2010/main" val="3615688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Manage renewals and extension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941168"/>
            <a:ext cx="10972800" cy="1916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8" y="5541041"/>
            <a:ext cx="10023514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tcontract can help you manage contract renewals, cancellations, change requests and extensions – all in one place.</a:t>
            </a:r>
          </a:p>
          <a:p>
            <a:br>
              <a:rPr lang="en-GB" sz="2160" dirty="0"/>
            </a:br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Line Callout 1 8"/>
          <p:cNvSpPr/>
          <p:nvPr/>
        </p:nvSpPr>
        <p:spPr>
          <a:xfrm>
            <a:off x="6355229" y="1166063"/>
            <a:ext cx="3425609" cy="745223"/>
          </a:xfrm>
          <a:prstGeom prst="borderCallout1">
            <a:avLst>
              <a:gd name="adj1" fmla="val 92173"/>
              <a:gd name="adj2" fmla="val 76851"/>
              <a:gd name="adj3" fmla="val 158424"/>
              <a:gd name="adj4" fmla="val 77385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Track contract amendm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715" y="2204864"/>
            <a:ext cx="9407378" cy="2304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512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Electronic signature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941168"/>
            <a:ext cx="10972800" cy="1916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8" y="5589242"/>
            <a:ext cx="10023514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eamless integration with Adobe Sign® &amp; DocuSign allows you to get documents signed using e-signature technology.</a:t>
            </a:r>
          </a:p>
          <a:p>
            <a:pPr algn="ctr"/>
            <a:b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  <a:hlinkClick r:id="rId3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09600" y="836713"/>
            <a:ext cx="10972800" cy="4104456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</p:spTree>
    <p:extLst>
      <p:ext uri="{BB962C8B-B14F-4D97-AF65-F5344CB8AC3E}">
        <p14:creationId xmlns:p14="http://schemas.microsoft.com/office/powerpoint/2010/main" val="489456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Approval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797153"/>
            <a:ext cx="10972800" cy="206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8" y="4941168"/>
            <a:ext cx="1002351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tracts can be optionally sent for internal approval. Create the chain for approval, track progress and see the approval history right against the contract. </a:t>
            </a:r>
          </a:p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cide which contracts are subject to approval and which aren't. </a:t>
            </a:r>
          </a:p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n required, admin users can override the approval process and move it along. </a:t>
            </a:r>
          </a:p>
          <a:p>
            <a:pPr algn="ctr"/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se your mobile phone to approve or reject approval requests.</a:t>
            </a:r>
            <a:endParaRPr lang="en-GB" sz="2000" dirty="0">
              <a:solidFill>
                <a:schemeClr val="tx1">
                  <a:lumMod val="85000"/>
                  <a:lumOff val="15000"/>
                </a:schemeClr>
              </a:solidFill>
              <a:hlinkClick r:id="rId3"/>
            </a:endParaRPr>
          </a:p>
        </p:txBody>
      </p:sp>
      <p:sp>
        <p:nvSpPr>
          <p:cNvPr id="9" name="Line Callout 1 8"/>
          <p:cNvSpPr/>
          <p:nvPr/>
        </p:nvSpPr>
        <p:spPr>
          <a:xfrm>
            <a:off x="6873686" y="2420890"/>
            <a:ext cx="3888432" cy="1055728"/>
          </a:xfrm>
          <a:prstGeom prst="borderCallout1">
            <a:avLst>
              <a:gd name="adj1" fmla="val 47438"/>
              <a:gd name="adj2" fmla="val -75"/>
              <a:gd name="adj3" fmla="val 47574"/>
              <a:gd name="adj4" fmla="val -15466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Quickly review a contracts approval statu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866" y="1124745"/>
            <a:ext cx="4578340" cy="344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766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560" y="1045722"/>
            <a:ext cx="7549247" cy="375143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09600" y="1"/>
            <a:ext cx="10972800" cy="836712"/>
          </a:xfrm>
          <a:prstGeom prst="rect">
            <a:avLst/>
          </a:prstGeom>
          <a:solidFill>
            <a:srgbClr val="302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/>
          </a:p>
        </p:txBody>
      </p:sp>
      <p:sp>
        <p:nvSpPr>
          <p:cNvPr id="4" name="TextBox 3"/>
          <p:cNvSpPr txBox="1"/>
          <p:nvPr/>
        </p:nvSpPr>
        <p:spPr>
          <a:xfrm>
            <a:off x="911424" y="188643"/>
            <a:ext cx="959146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80" dirty="0">
                <a:solidFill>
                  <a:schemeClr val="bg1"/>
                </a:solidFill>
                <a:latin typeface="Century Gothic" panose="020B0502020202020204" pitchFamily="34" charset="0"/>
              </a:rPr>
              <a:t>Supplier management and KPIs</a:t>
            </a:r>
          </a:p>
        </p:txBody>
      </p:sp>
      <p:sp>
        <p:nvSpPr>
          <p:cNvPr id="5" name="Rectangle 4"/>
          <p:cNvSpPr/>
          <p:nvPr/>
        </p:nvSpPr>
        <p:spPr>
          <a:xfrm>
            <a:off x="609600" y="4941168"/>
            <a:ext cx="10972800" cy="1916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6928" y="5299421"/>
            <a:ext cx="10023514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et up and manage suppliers and associated KPIs.</a:t>
            </a:r>
          </a:p>
          <a:p>
            <a:pPr algn="ctr"/>
            <a:endParaRPr lang="en-GB" sz="216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GB" sz="216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ll the benefits of KPIs without the effort - Suppliers will get an email that requests and allows them to enter KPI data</a:t>
            </a:r>
          </a:p>
        </p:txBody>
      </p:sp>
      <p:sp>
        <p:nvSpPr>
          <p:cNvPr id="11" name="Line Callout 1 10"/>
          <p:cNvSpPr/>
          <p:nvPr/>
        </p:nvSpPr>
        <p:spPr>
          <a:xfrm>
            <a:off x="758310" y="1412777"/>
            <a:ext cx="2918220" cy="1055728"/>
          </a:xfrm>
          <a:prstGeom prst="borderCallout1">
            <a:avLst>
              <a:gd name="adj1" fmla="val 49693"/>
              <a:gd name="adj2" fmla="val 98472"/>
              <a:gd name="adj3" fmla="val 50281"/>
              <a:gd name="adj4" fmla="val 113976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Flexibly Set up and measure Supplier KPIs</a:t>
            </a:r>
          </a:p>
        </p:txBody>
      </p:sp>
      <p:sp>
        <p:nvSpPr>
          <p:cNvPr id="10" name="Line Callout 1 9"/>
          <p:cNvSpPr/>
          <p:nvPr/>
        </p:nvSpPr>
        <p:spPr>
          <a:xfrm>
            <a:off x="758313" y="3212978"/>
            <a:ext cx="2918221" cy="1055728"/>
          </a:xfrm>
          <a:prstGeom prst="borderCallout1">
            <a:avLst>
              <a:gd name="adj1" fmla="val 49693"/>
              <a:gd name="adj2" fmla="val 98472"/>
              <a:gd name="adj3" fmla="val 50281"/>
              <a:gd name="adj4" fmla="val 113976"/>
            </a:avLst>
          </a:prstGeom>
          <a:solidFill>
            <a:srgbClr val="664455"/>
          </a:solidFill>
          <a:ln>
            <a:solidFill>
              <a:srgbClr val="6644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60" dirty="0"/>
              <a:t>Set up a custom method for measuring performance </a:t>
            </a:r>
          </a:p>
        </p:txBody>
      </p:sp>
    </p:spTree>
    <p:extLst>
      <p:ext uri="{BB962C8B-B14F-4D97-AF65-F5344CB8AC3E}">
        <p14:creationId xmlns:p14="http://schemas.microsoft.com/office/powerpoint/2010/main" val="51880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vmO03lrTvnF1kEehAqZ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4CiVsiG2mlBhnXylI5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kXKY4rO76K.mPibyYg3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St2hIchOpZRJpAx__rO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aywZ0IAsp9cK2MB9LOh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fOL15BqBCUY5kDL8MuH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HeyuhzJERT8DUEu29j1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Va0L1Sy03TroYJn.3b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a8AU96MsVy9INOsUlz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WAxROxoKgpHUNjv94L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KQm2NQdB2Zg0tjsMhH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4.XpZTupd69wp84pBG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RD5qbaEmdvrNHaxi7G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Oh8olTsw0C7o39.ZfV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6cN3rmrw74EBG2sdkt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O2UcgSsenDtfImD2tW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O_ydoc.u0gje81f7cb1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H42kpn_czKM9ZGtJk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O52GRvodZFTtvYBE.t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ers3OEll1aJYax1Di9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8oOfd2wMhF_TyKDz14_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2URjMXmbDw0Q7Q.3c.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o3okpcAVe0RVstMMRv_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q5rn6e_r7kHaNVeJI_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MJOGystOMnPbg09qv6N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x.6Ss6E3ZrkKLasr3Q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C00AbLtqyVFXnEtdJBy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WXhaMte2JLLt1oCLoT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KQm2NQdB2Zg0tjsMhH6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KQm2NQdB2Zg0tjsMhH6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KQm2NQdB2Zg0tjsMhH6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aXLHATT4xOJ5ndY5DxA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7Z9PgATPpi.FuTNhNpOA"/>
</p:tagLst>
</file>

<file path=ppt/theme/theme1.xml><?xml version="1.0" encoding="utf-8"?>
<a:theme xmlns:a="http://schemas.openxmlformats.org/drawingml/2006/main" name="Office Theme">
  <a:themeElements>
    <a:clrScheme name="RLDatix">
      <a:dk1>
        <a:srgbClr val="636669"/>
      </a:dk1>
      <a:lt1>
        <a:srgbClr val="EFEEEE"/>
      </a:lt1>
      <a:dk2>
        <a:srgbClr val="636669"/>
      </a:dk2>
      <a:lt2>
        <a:srgbClr val="EFEEEE"/>
      </a:lt2>
      <a:accent1>
        <a:srgbClr val="F3511E"/>
      </a:accent1>
      <a:accent2>
        <a:srgbClr val="8F1FF7"/>
      </a:accent2>
      <a:accent3>
        <a:srgbClr val="349D91"/>
      </a:accent3>
      <a:accent4>
        <a:srgbClr val="9FA1A8"/>
      </a:accent4>
      <a:accent5>
        <a:srgbClr val="1C2856"/>
      </a:accent5>
      <a:accent6>
        <a:srgbClr val="64B5F6"/>
      </a:accent6>
      <a:hlink>
        <a:srgbClr val="64B5F6"/>
      </a:hlink>
      <a:folHlink>
        <a:srgbClr val="474C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emplate Health and Care April 2021  -  Read-Only" id="{8DE64EFB-AD4F-4F84-A84F-DA880664B7A9}" vid="{9DD29739-7EC8-431A-ABF5-E629BEF6BEDA}"/>
    </a:ext>
  </a:extLst>
</a:theme>
</file>

<file path=ppt/theme/theme2.xml><?xml version="1.0" encoding="utf-8"?>
<a:theme xmlns:a="http://schemas.openxmlformats.org/drawingml/2006/main" name="5_New RLDatix Grid 16:9 - 13532">
  <a:themeElements>
    <a:clrScheme name="Custom 1">
      <a:dk1>
        <a:srgbClr val="58595B"/>
      </a:dk1>
      <a:lt1>
        <a:srgbClr val="FFFFFF"/>
      </a:lt1>
      <a:dk2>
        <a:srgbClr val="EC6731"/>
      </a:dk2>
      <a:lt2>
        <a:srgbClr val="F2F2F2"/>
      </a:lt2>
      <a:accent1>
        <a:srgbClr val="822E0C"/>
      </a:accent1>
      <a:accent2>
        <a:srgbClr val="C44512"/>
      </a:accent2>
      <a:accent3>
        <a:srgbClr val="FBB60B"/>
      </a:accent3>
      <a:accent4>
        <a:srgbClr val="F4A483"/>
      </a:accent4>
      <a:accent5>
        <a:srgbClr val="C4C5C5"/>
      </a:accent5>
      <a:accent6>
        <a:srgbClr val="1E4385"/>
      </a:accent6>
      <a:hlink>
        <a:srgbClr val="4B9F3F"/>
      </a:hlink>
      <a:folHlink>
        <a:srgbClr val="0082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C6731"/>
        </a:solidFill>
        <a:ln w="9525" cap="rnd" cmpd="sng" algn="ctr">
          <a:solidFill>
            <a:srgbClr val="EC6731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E6D8CF7-8A28-3F4B-974C-3A267CFBADF0}">
  <we:reference id="wa200000729" version="3.12.176.0" store="en-US" storeType="OMEX"/>
  <we:alternateReferences>
    <we:reference id="wa200000729" version="3.12.176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3e3e90c-a303-4cf1-87be-2044e4f38f43">
      <UserInfo>
        <DisplayName>Gareth Rowley</DisplayName>
        <AccountId>107</AccountId>
        <AccountType/>
      </UserInfo>
      <UserInfo>
        <DisplayName>Kate Zaparanuik</DisplayName>
        <AccountId>44</AccountId>
        <AccountType/>
      </UserInfo>
      <UserInfo>
        <DisplayName>Richard Hazeltine</DisplayName>
        <AccountId>11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4CFA5BFD1CB14B91E367F811D89F07" ma:contentTypeVersion="14" ma:contentTypeDescription="Create a new document." ma:contentTypeScope="" ma:versionID="0a839f3f9db15c6224c13f7cdb0b8456">
  <xsd:schema xmlns:xsd="http://www.w3.org/2001/XMLSchema" xmlns:xs="http://www.w3.org/2001/XMLSchema" xmlns:p="http://schemas.microsoft.com/office/2006/metadata/properties" xmlns:ns3="da095cf4-555b-44fe-8575-30fb7e53ecad" xmlns:ns4="c3e3e90c-a303-4cf1-87be-2044e4f38f43" targetNamespace="http://schemas.microsoft.com/office/2006/metadata/properties" ma:root="true" ma:fieldsID="448d82c252c84b84bde2d070b0956a14" ns3:_="" ns4:_="">
    <xsd:import namespace="da095cf4-555b-44fe-8575-30fb7e53ecad"/>
    <xsd:import namespace="c3e3e90c-a303-4cf1-87be-2044e4f38f4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095cf4-555b-44fe-8575-30fb7e53ec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e3e90c-a303-4cf1-87be-2044e4f3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DB789D-0E28-4B22-B498-B0E5464E07EB}">
  <ds:schemaRefs>
    <ds:schemaRef ds:uri="c3e3e90c-a303-4cf1-87be-2044e4f38f43"/>
    <ds:schemaRef ds:uri="da095cf4-555b-44fe-8575-30fb7e53eca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B5173F3-19B0-4A13-B1DF-8FA0E3C25F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DB7FCA-2F46-4AD9-9792-D672B986BEAE}">
  <ds:schemaRefs>
    <ds:schemaRef ds:uri="c3e3e90c-a303-4cf1-87be-2044e4f38f43"/>
    <ds:schemaRef ds:uri="da095cf4-555b-44fe-8575-30fb7e53eca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5</TotalTime>
  <Words>882</Words>
  <Application>Microsoft Office PowerPoint</Application>
  <PresentationFormat>Widescreen</PresentationFormat>
  <Paragraphs>117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alibri Light</vt:lpstr>
      <vt:lpstr>Century Gothic</vt:lpstr>
      <vt:lpstr>Mont Heavy</vt:lpstr>
      <vt:lpstr>Proxima Nova Light</vt:lpstr>
      <vt:lpstr>Trebuchet MS</vt:lpstr>
      <vt:lpstr>Wingdings</vt:lpstr>
      <vt:lpstr>Office Theme</vt:lpstr>
      <vt:lpstr>5_New RLDatix Grid 16:9 - 13532</vt:lpstr>
      <vt:lpstr>think-cell Slide</vt:lpstr>
      <vt:lpstr>Intelligentcontract Walk Throug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est Practice Methodology - intelligentcontrac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Template Health and Care April 2021.pptx</dc:subject>
  <dc:creator>Amy Lee</dc:creator>
  <cp:keywords/>
  <dc:description/>
  <cp:lastModifiedBy>Judy Weeks</cp:lastModifiedBy>
  <cp:revision>10</cp:revision>
  <dcterms:created xsi:type="dcterms:W3CDTF">2021-09-20T12:11:18Z</dcterms:created>
  <dcterms:modified xsi:type="dcterms:W3CDTF">2022-09-22T16:24:2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4CFA5BFD1CB14B91E367F811D89F07</vt:lpwstr>
  </property>
  <property fmtid="{D5CDD505-2E9C-101B-9397-08002B2CF9AE}" pid="3" name="_dlc_DocIdItemGuid">
    <vt:lpwstr>0f44e4a6-2738-43f3-9232-bb9e37fcd4ed</vt:lpwstr>
  </property>
  <property fmtid="{D5CDD505-2E9C-101B-9397-08002B2CF9AE}" pid="4" name="Order">
    <vt:r8>30710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